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7" r:id="rId10"/>
    <p:sldMasterId id="2147483821" r:id="rId11"/>
    <p:sldMasterId id="2147483834" r:id="rId12"/>
  </p:sldMasterIdLst>
  <p:notesMasterIdLst>
    <p:notesMasterId r:id="rId19"/>
  </p:notesMasterIdLst>
  <p:handoutMasterIdLst>
    <p:handoutMasterId r:id="rId20"/>
  </p:handoutMasterIdLst>
  <p:sldIdLst>
    <p:sldId id="2142532264" r:id="rId13"/>
    <p:sldId id="2147347624" r:id="rId14"/>
    <p:sldId id="2142532265" r:id="rId15"/>
    <p:sldId id="2147347623" r:id="rId16"/>
    <p:sldId id="363" r:id="rId17"/>
    <p:sldId id="448" r:id="rId18"/>
  </p:sldIdLst>
  <p:sldSz cx="12192000" cy="6858000"/>
  <p:notesSz cx="7315200" cy="96012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68F40C7-9542-4EA6-BA31-496DF3261B2B}">
          <p14:sldIdLst>
            <p14:sldId id="2142532264"/>
            <p14:sldId id="2147347624"/>
            <p14:sldId id="2142532265"/>
            <p14:sldId id="2147347623"/>
            <p14:sldId id="363"/>
            <p14:sldId id="448"/>
          </p14:sldIdLst>
        </p14:section>
      </p14:sectionLst>
    </p:ex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BF4E9C-AA52-004D-4656-A6C924F164E6}" name="Rai, Jasmin" initials="RJ" userId="S::jasminrai@deloitte.co.uk::a8191e2c-0abe-47de-aad2-ff186ae5a57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BC25"/>
    <a:srgbClr val="00A3E0"/>
    <a:srgbClr val="046A38"/>
    <a:srgbClr val="003E58"/>
    <a:srgbClr val="0D8390"/>
    <a:srgbClr val="FFFFFF"/>
    <a:srgbClr val="009A44"/>
    <a:srgbClr val="20A75B"/>
    <a:srgbClr val="7FCCA1"/>
    <a:srgbClr val="0097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3273" autoAdjust="0"/>
    <p:restoredTop sz="94819" autoAdjust="0"/>
  </p:normalViewPr>
  <p:slideViewPr>
    <p:cSldViewPr snapToGrid="0" showGuides="1">
      <p:cViewPr varScale="1">
        <p:scale>
          <a:sx n="104" d="100"/>
          <a:sy n="104" d="100"/>
        </p:scale>
        <p:origin x="60" y="249"/>
      </p:cViewPr>
      <p:guideLst>
        <p:guide/>
        <p:guide orient="horz" pos="2047"/>
        <p:guide orient="horz" pos="1593"/>
        <p:guide orient="horz" pos="2568"/>
        <p:guide orient="horz" pos="3072"/>
        <p:guide orient="horz" pos="358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91" d="100"/>
          <a:sy n="91" d="100"/>
        </p:scale>
        <p:origin x="2268" y="102"/>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1.xml"/><Relationship Id="rId18" Type="http://schemas.openxmlformats.org/officeDocument/2006/relationships/slide" Target="slides/slide6.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customXml" Target="../customXml/item7.xml"/><Relationship Id="rId12" Type="http://schemas.openxmlformats.org/officeDocument/2006/relationships/slideMaster" Target="slideMasters/slideMaster3.xml"/><Relationship Id="rId17" Type="http://schemas.openxmlformats.org/officeDocument/2006/relationships/slide" Target="slides/slide5.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2.xml"/><Relationship Id="rId24"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viewProps" Target="viewProps.xml"/><Relationship Id="rId10" Type="http://schemas.openxmlformats.org/officeDocument/2006/relationships/slideMaster" Target="slideMasters/slideMaster1.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2.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15/2024</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15/2024</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a:pPr/>
              <a:t>2</a:t>
            </a:fld>
            <a:endParaRPr lang="en-US" dirty="0"/>
          </a:p>
        </p:txBody>
      </p:sp>
    </p:spTree>
    <p:extLst>
      <p:ext uri="{BB962C8B-B14F-4D97-AF65-F5344CB8AC3E}">
        <p14:creationId xmlns:p14="http://schemas.microsoft.com/office/powerpoint/2010/main" val="3699164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58383973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gi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gi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sv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3.svg"/><Relationship Id="rId10" Type="http://schemas.openxmlformats.org/officeDocument/2006/relationships/image" Target="../media/image18.svg"/><Relationship Id="rId4" Type="http://schemas.openxmlformats.org/officeDocument/2006/relationships/image" Target="../media/image12.png"/><Relationship Id="rId9" Type="http://schemas.openxmlformats.org/officeDocument/2006/relationships/image" Target="../media/image17.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GB" noProof="0" dirty="0"/>
              <a:t>Click icon to add picture</a:t>
            </a:r>
            <a:endParaRPr lang="en-GB"/>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275619" y="4798141"/>
            <a:ext cx="4446269" cy="1253337"/>
          </a:xfrm>
        </p:spPr>
        <p:txBody>
          <a:bodyPr anchor="t" anchorCtr="0">
            <a:noAutofit/>
          </a:bodyPr>
          <a:lstStyle>
            <a:lvl1pPr algn="l">
              <a:lnSpc>
                <a:spcPct val="100000"/>
              </a:lnSpc>
              <a:defRPr sz="2800" b="0">
                <a:solidFill>
                  <a:schemeClr val="accent1"/>
                </a:solidFill>
                <a:latin typeface="+mn-lt"/>
                <a:ea typeface="Open Sans" panose="020B0606030504020204" pitchFamily="34" charset="0"/>
                <a:cs typeface="Calibri" panose="020F0502020204030204" pitchFamily="34" charset="0"/>
              </a:defRPr>
            </a:lvl1pPr>
          </a:lstStyle>
          <a:p>
            <a:r>
              <a:rPr lang="en-GB" noProof="0" dirty="0"/>
              <a:t>Click to edit Master title style</a:t>
            </a:r>
            <a:endParaRPr lang="en-GB"/>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275619" y="6155777"/>
            <a:ext cx="4446269" cy="471053"/>
          </a:xfrm>
          <a:prstGeom prst="rect">
            <a:avLst/>
          </a:prstGeom>
        </p:spPr>
        <p:txBody>
          <a:bodyPr>
            <a:noAutofit/>
          </a:bodyPr>
          <a:lstStyle>
            <a:lvl1pPr>
              <a:spcAft>
                <a:spcPts val="0"/>
              </a:spcAft>
              <a:defRPr sz="1400">
                <a:solidFill>
                  <a:schemeClr val="tx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p:txBody>
      </p:sp>
      <p:pic>
        <p:nvPicPr>
          <p:cNvPr id="1453892562" name="Rectangle 1" descr="{&quot;templafy&quot;:{&quot;id&quot;:&quot;20855b47-9c21-4501-b7b7-0956e0101a44&quot;}}"/>
          <p:cNvPicPr>
            <a:picLocks noChangeAspect="1"/>
          </p:cNvPicPr>
          <p:nvPr/>
        </p:nvPicPr>
        <p:blipFill>
          <a:blip r:embed="rId2"/>
          <a:stretch>
            <a:fillRect/>
          </a:stretch>
        </p:blipFill>
        <p:spPr>
          <a:xfrm>
            <a:off x="469900" y="457200"/>
            <a:ext cx="2286000" cy="425482"/>
          </a:xfrm>
          <a:prstGeom prst="rect">
            <a:avLst/>
          </a:prstGeom>
        </p:spPr>
      </p:pic>
    </p:spTree>
    <p:extLst>
      <p:ext uri="{BB962C8B-B14F-4D97-AF65-F5344CB8AC3E}">
        <p14:creationId xmlns:p14="http://schemas.microsoft.com/office/powerpoint/2010/main" val="12092952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65818"/>
            <a:ext cx="11252200" cy="4633383"/>
          </a:xfrm>
          <a:prstGeom prst="rect">
            <a:avLst/>
          </a:prstGeom>
        </p:spPr>
        <p:txBody>
          <a:bodyPr vert="horz" lIns="182880" tIns="182880" rIns="182880" bIns="18288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7" name="Text Placeholder 8">
            <a:extLst>
              <a:ext uri="{FF2B5EF4-FFF2-40B4-BE49-F238E27FC236}">
                <a16:creationId xmlns:a16="http://schemas.microsoft.com/office/drawing/2014/main" id="{EC35CE12-0F55-44D2-B9DD-C0590980F88B}"/>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10" name="Title 1">
            <a:extLst>
              <a:ext uri="{FF2B5EF4-FFF2-40B4-BE49-F238E27FC236}">
                <a16:creationId xmlns:a16="http://schemas.microsoft.com/office/drawing/2014/main" id="{388B2547-D6ED-4DFD-BEB5-2175DBB0816D}"/>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
        <p:nvSpPr>
          <p:cNvPr id="2" name="TextBox 1">
            <a:extLst>
              <a:ext uri="{FF2B5EF4-FFF2-40B4-BE49-F238E27FC236}">
                <a16:creationId xmlns:a16="http://schemas.microsoft.com/office/drawing/2014/main" id="{A6500524-D8B4-A515-4CC5-B5432AF3A083}"/>
              </a:ext>
            </a:extLst>
          </p:cNvPr>
          <p:cNvSpPr txBox="1"/>
          <p:nvPr userDrawn="1"/>
        </p:nvSpPr>
        <p:spPr>
          <a:xfrm>
            <a:off x="501650" y="6536661"/>
            <a:ext cx="6094206" cy="215444"/>
          </a:xfrm>
          <a:prstGeom prst="rect">
            <a:avLst/>
          </a:prstGeom>
          <a:noFill/>
        </p:spPr>
        <p:txBody>
          <a:bodyPr wrap="square">
            <a:spAutoFit/>
          </a:bodyPr>
          <a:lstStyle/>
          <a:p>
            <a:r>
              <a:rPr lang="en-GB" sz="800" noProof="0" dirty="0">
                <a:solidFill>
                  <a:srgbClr val="020203"/>
                </a:solidFill>
                <a:latin typeface="Calibri" panose="020F0502020204030204" pitchFamily="34" charset="0"/>
                <a:cs typeface="Calibri" panose="020F0502020204030204" pitchFamily="34" charset="0"/>
              </a:rPr>
              <a:t>© 2024 Deloitte LLP. All rights reserved</a:t>
            </a:r>
            <a:endParaRPr lang="en-GB" sz="80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_black">
    <p:bg>
      <p:bgPr>
        <a:solidFill>
          <a:schemeClr val="tx1"/>
        </a:solidFill>
        <a:effectLst/>
      </p:bgPr>
    </p:bg>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65818"/>
            <a:ext cx="11252200" cy="4633383"/>
          </a:xfrm>
          <a:prstGeom prst="rect">
            <a:avLst/>
          </a:prstGeom>
        </p:spPr>
        <p:txBody>
          <a:bodyPr vert="horz" lIns="182880" tIns="182880" rIns="182880" bIns="182880" rtlCol="0">
            <a:normAutofit/>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GB" noProof="0"/>
              <a:t>Click to edit Master text styles</a:t>
            </a:r>
            <a:endParaRPr lang="en-GB"/>
          </a:p>
          <a:p>
            <a:pPr lvl="1"/>
            <a:r>
              <a:rPr lang="en-GB" noProof="0"/>
              <a:t>Second level</a:t>
            </a:r>
            <a:endParaRPr lang="en-GB"/>
          </a:p>
          <a:p>
            <a:pPr lvl="2"/>
            <a:r>
              <a:rPr lang="en-GB" noProof="0"/>
              <a:t>Third level</a:t>
            </a:r>
            <a:endParaRPr lang="en-GB"/>
          </a:p>
          <a:p>
            <a:pPr lvl="3"/>
            <a:r>
              <a:rPr lang="en-GB" noProof="0"/>
              <a:t>Fourth level</a:t>
            </a:r>
            <a:endParaRPr lang="en-GB"/>
          </a:p>
          <a:p>
            <a:pPr lvl="4"/>
            <a:r>
              <a:rPr lang="en-GB" noProof="0"/>
              <a:t>Fifth level</a:t>
            </a:r>
            <a:endParaRPr lang="en-GB" noProof="0" dirty="0"/>
          </a:p>
        </p:txBody>
      </p:sp>
      <p:sp>
        <p:nvSpPr>
          <p:cNvPr id="7" name="Text Placeholder 8">
            <a:extLst>
              <a:ext uri="{FF2B5EF4-FFF2-40B4-BE49-F238E27FC236}">
                <a16:creationId xmlns:a16="http://schemas.microsoft.com/office/drawing/2014/main" id="{EC35CE12-0F55-44D2-B9DD-C0590980F88B}"/>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0" name="Title 1">
            <a:extLst>
              <a:ext uri="{FF2B5EF4-FFF2-40B4-BE49-F238E27FC236}">
                <a16:creationId xmlns:a16="http://schemas.microsoft.com/office/drawing/2014/main" id="{388B2547-D6ED-4DFD-BEB5-2175DBB0816D}"/>
              </a:ext>
            </a:extLst>
          </p:cNvPr>
          <p:cNvSpPr>
            <a:spLocks noGrp="1"/>
          </p:cNvSpPr>
          <p:nvPr>
            <p:ph type="title" hasCustomPrompt="1"/>
          </p:nvPr>
        </p:nvSpPr>
        <p:spPr>
          <a:xfrm>
            <a:off x="501651" y="307341"/>
            <a:ext cx="11188700" cy="439317"/>
          </a:xfrm>
        </p:spPr>
        <p:txBody>
          <a:bodyPr>
            <a:noAutofit/>
          </a:bodyPr>
          <a:lstStyle>
            <a:lvl1pPr>
              <a:defRPr>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293926365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rgbClr val="86BC25"/>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C881454F-233A-4611-B716-852418DC9479}"/>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tx1"/>
                </a:solidFill>
                <a:latin typeface="+mj-lt"/>
              </a:defRPr>
            </a:lvl1pPr>
          </a:lstStyle>
          <a:p>
            <a:pPr lvl="0"/>
            <a:r>
              <a:rPr lang="en-GB" dirty="0"/>
              <a:t>Click to add subtitle</a:t>
            </a:r>
            <a:endParaRPr lang="en-GB"/>
          </a:p>
        </p:txBody>
      </p:sp>
      <p:sp>
        <p:nvSpPr>
          <p:cNvPr id="5" name="Title 1">
            <a:extLst>
              <a:ext uri="{FF2B5EF4-FFF2-40B4-BE49-F238E27FC236}">
                <a16:creationId xmlns:a16="http://schemas.microsoft.com/office/drawing/2014/main" id="{B9A97078-C3CC-45FB-A747-7FC55456C890}"/>
              </a:ext>
            </a:extLst>
          </p:cNvPr>
          <p:cNvSpPr>
            <a:spLocks noGrp="1"/>
          </p:cNvSpPr>
          <p:nvPr>
            <p:ph type="title" hasCustomPrompt="1"/>
          </p:nvPr>
        </p:nvSpPr>
        <p:spPr>
          <a:xfrm>
            <a:off x="398908" y="3079750"/>
            <a:ext cx="11188700" cy="698500"/>
          </a:xfrm>
        </p:spPr>
        <p:txBody>
          <a:bodyPr>
            <a:noAutofit/>
          </a:bodyPr>
          <a:lstStyle>
            <a:lvl1pPr>
              <a:defRPr sz="4000" b="1">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314919267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Divider - circular image">
    <p:bg bwMode="gray">
      <p:bgPr>
        <a:solidFill>
          <a:schemeClr val="bg1"/>
        </a:solidFill>
        <a:effectLst/>
      </p:bgPr>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CAFBA8FB-C142-4581-9262-CFFB31F16121}"/>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tx1"/>
                </a:solidFill>
                <a:latin typeface="+mj-lt"/>
              </a:defRPr>
            </a:lvl1pPr>
          </a:lstStyle>
          <a:p>
            <a:pPr lvl="0"/>
            <a:r>
              <a:rPr lang="en-GB" dirty="0"/>
              <a:t>Click to add subtitle</a:t>
            </a:r>
            <a:endParaRPr lang="en-GB"/>
          </a:p>
        </p:txBody>
      </p:sp>
      <p:sp>
        <p:nvSpPr>
          <p:cNvPr id="7" name="Title 1">
            <a:extLst>
              <a:ext uri="{FF2B5EF4-FFF2-40B4-BE49-F238E27FC236}">
                <a16:creationId xmlns:a16="http://schemas.microsoft.com/office/drawing/2014/main" id="{B8BD7F94-90CC-4F08-AD04-83B3ADB1DB62}"/>
              </a:ext>
            </a:extLst>
          </p:cNvPr>
          <p:cNvSpPr>
            <a:spLocks noGrp="1"/>
          </p:cNvSpPr>
          <p:nvPr>
            <p:ph type="title" hasCustomPrompt="1"/>
          </p:nvPr>
        </p:nvSpPr>
        <p:spPr>
          <a:xfrm>
            <a:off x="398908" y="3079750"/>
            <a:ext cx="11188700" cy="698500"/>
          </a:xfrm>
        </p:spPr>
        <p:txBody>
          <a:bodyPr>
            <a:noAutofit/>
          </a:bodyPr>
          <a:lstStyle>
            <a:lvl1pPr>
              <a:defRPr sz="4000" b="1">
                <a:solidFill>
                  <a:schemeClr val="tx1"/>
                </a:solidFill>
              </a:defRPr>
            </a:lvl1pPr>
          </a:lstStyle>
          <a:p>
            <a:r>
              <a:rPr lang="en-GB" dirty="0"/>
              <a:t>Click to add title</a:t>
            </a:r>
            <a:endParaRPr lang="en-GB"/>
          </a:p>
        </p:txBody>
      </p:sp>
      <p:sp>
        <p:nvSpPr>
          <p:cNvPr id="3" name="Picture Placeholder 2">
            <a:extLst>
              <a:ext uri="{FF2B5EF4-FFF2-40B4-BE49-F238E27FC236}">
                <a16:creationId xmlns:a16="http://schemas.microsoft.com/office/drawing/2014/main" id="{44B30A03-CCDA-470E-8535-FBADDA26B097}"/>
              </a:ext>
            </a:extLst>
          </p:cNvPr>
          <p:cNvSpPr>
            <a:spLocks noGrp="1"/>
          </p:cNvSpPr>
          <p:nvPr>
            <p:ph type="pic" sz="quarter" idx="14"/>
          </p:nvPr>
        </p:nvSpPr>
        <p:spPr>
          <a:xfrm>
            <a:off x="6236368" y="1288018"/>
            <a:ext cx="5130450" cy="4281964"/>
          </a:xfrm>
        </p:spPr>
        <p:txBody>
          <a:bodyPr/>
          <a:lstStyle/>
          <a:p>
            <a:endParaRPr lang="en-GB" dirty="0"/>
          </a:p>
        </p:txBody>
      </p:sp>
    </p:spTree>
    <p:extLst>
      <p:ext uri="{BB962C8B-B14F-4D97-AF65-F5344CB8AC3E}">
        <p14:creationId xmlns:p14="http://schemas.microsoft.com/office/powerpoint/2010/main" val="236128160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 circular image_black">
    <p:bg bwMode="gray">
      <p:bgPr>
        <a:solidFill>
          <a:schemeClr val="tx1"/>
        </a:solidFill>
        <a:effectLst/>
      </p:bgPr>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CAFBA8FB-C142-4581-9262-CFFB31F16121}"/>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bg1"/>
                </a:solidFill>
                <a:latin typeface="+mj-lt"/>
              </a:defRPr>
            </a:lvl1pPr>
          </a:lstStyle>
          <a:p>
            <a:pPr lvl="0"/>
            <a:r>
              <a:rPr lang="en-GB" dirty="0"/>
              <a:t>Click to add subtitle</a:t>
            </a:r>
            <a:endParaRPr lang="en-GB"/>
          </a:p>
        </p:txBody>
      </p:sp>
      <p:sp>
        <p:nvSpPr>
          <p:cNvPr id="7" name="Title 1">
            <a:extLst>
              <a:ext uri="{FF2B5EF4-FFF2-40B4-BE49-F238E27FC236}">
                <a16:creationId xmlns:a16="http://schemas.microsoft.com/office/drawing/2014/main" id="{B8BD7F94-90CC-4F08-AD04-83B3ADB1DB62}"/>
              </a:ext>
            </a:extLst>
          </p:cNvPr>
          <p:cNvSpPr>
            <a:spLocks noGrp="1"/>
          </p:cNvSpPr>
          <p:nvPr>
            <p:ph type="title" hasCustomPrompt="1"/>
          </p:nvPr>
        </p:nvSpPr>
        <p:spPr>
          <a:xfrm>
            <a:off x="398908" y="3079750"/>
            <a:ext cx="11188700" cy="698500"/>
          </a:xfrm>
        </p:spPr>
        <p:txBody>
          <a:bodyPr>
            <a:noAutofit/>
          </a:bodyPr>
          <a:lstStyle>
            <a:lvl1pPr>
              <a:defRPr sz="4000" b="1">
                <a:solidFill>
                  <a:schemeClr val="bg1"/>
                </a:solidFill>
              </a:defRPr>
            </a:lvl1pPr>
          </a:lstStyle>
          <a:p>
            <a:r>
              <a:rPr lang="en-GB" dirty="0"/>
              <a:t>Click to add title</a:t>
            </a:r>
            <a:endParaRPr lang="en-GB"/>
          </a:p>
        </p:txBody>
      </p:sp>
      <p:sp>
        <p:nvSpPr>
          <p:cNvPr id="3" name="Picture Placeholder 2">
            <a:extLst>
              <a:ext uri="{FF2B5EF4-FFF2-40B4-BE49-F238E27FC236}">
                <a16:creationId xmlns:a16="http://schemas.microsoft.com/office/drawing/2014/main" id="{44B30A03-CCDA-470E-8535-FBADDA26B097}"/>
              </a:ext>
            </a:extLst>
          </p:cNvPr>
          <p:cNvSpPr>
            <a:spLocks noGrp="1"/>
          </p:cNvSpPr>
          <p:nvPr>
            <p:ph type="pic" sz="quarter" idx="14"/>
          </p:nvPr>
        </p:nvSpPr>
        <p:spPr>
          <a:xfrm>
            <a:off x="6236368" y="1288018"/>
            <a:ext cx="5130450" cy="4281964"/>
          </a:xfrm>
        </p:spPr>
        <p:txBody>
          <a:bodyPr/>
          <a:lstStyle/>
          <a:p>
            <a:endParaRPr lang="en-GB" dirty="0"/>
          </a:p>
        </p:txBody>
      </p:sp>
    </p:spTree>
    <p:extLst>
      <p:ext uri="{BB962C8B-B14F-4D97-AF65-F5344CB8AC3E}">
        <p14:creationId xmlns:p14="http://schemas.microsoft.com/office/powerpoint/2010/main" val="42301204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 fullbleed">
    <p:bg bwMode="gray">
      <p:bgPr>
        <a:solidFill>
          <a:srgbClr val="009A44"/>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5D96553-2B86-474D-AE22-78B106391BD2}"/>
              </a:ext>
            </a:extLst>
          </p:cNvPr>
          <p:cNvPicPr>
            <a:picLocks noChangeAspect="1"/>
          </p:cNvPicPr>
          <p:nvPr userDrawn="1"/>
        </p:nvPicPr>
        <p:blipFill rotWithShape="1">
          <a:blip r:embed="rId2"/>
          <a:srcRect l="960" t="1874" r="960"/>
          <a:stretch/>
        </p:blipFill>
        <p:spPr>
          <a:xfrm>
            <a:off x="0" y="0"/>
            <a:ext cx="12192000" cy="6858000"/>
          </a:xfrm>
          <a:prstGeom prst="rect">
            <a:avLst/>
          </a:prstGeom>
        </p:spPr>
      </p:pic>
      <p:sp>
        <p:nvSpPr>
          <p:cNvPr id="5" name="Text Placeholder 8">
            <a:extLst>
              <a:ext uri="{FF2B5EF4-FFF2-40B4-BE49-F238E27FC236}">
                <a16:creationId xmlns:a16="http://schemas.microsoft.com/office/drawing/2014/main" id="{A0CF62B4-F56A-4C66-96B7-497CE4D8822B}"/>
              </a:ext>
            </a:extLst>
          </p:cNvPr>
          <p:cNvSpPr>
            <a:spLocks noGrp="1"/>
          </p:cNvSpPr>
          <p:nvPr>
            <p:ph type="body" sz="quarter" idx="13" hasCustomPrompt="1"/>
          </p:nvPr>
        </p:nvSpPr>
        <p:spPr>
          <a:xfrm>
            <a:off x="398908" y="4137917"/>
            <a:ext cx="11162349" cy="439317"/>
          </a:xfrm>
          <a:prstGeom prst="rect">
            <a:avLst/>
          </a:prstGeom>
        </p:spPr>
        <p:txBody>
          <a:bodyPr lIns="182880" tIns="182880" rIns="182880" bIns="182880">
            <a:noAutofit/>
          </a:bodyPr>
          <a:lstStyle>
            <a:lvl1pPr marL="0" indent="0">
              <a:buNone/>
              <a:defRPr sz="2400" b="0">
                <a:solidFill>
                  <a:schemeClr val="bg1"/>
                </a:solidFill>
                <a:latin typeface="+mj-lt"/>
              </a:defRPr>
            </a:lvl1pPr>
          </a:lstStyle>
          <a:p>
            <a:pPr lvl="0"/>
            <a:r>
              <a:rPr lang="en-GB" dirty="0"/>
              <a:t>Click to add subtitle</a:t>
            </a:r>
            <a:endParaRPr lang="en-GB"/>
          </a:p>
        </p:txBody>
      </p:sp>
      <p:sp>
        <p:nvSpPr>
          <p:cNvPr id="6" name="Title 1">
            <a:extLst>
              <a:ext uri="{FF2B5EF4-FFF2-40B4-BE49-F238E27FC236}">
                <a16:creationId xmlns:a16="http://schemas.microsoft.com/office/drawing/2014/main" id="{F589E032-CCDF-4908-9821-7B72535F1685}"/>
              </a:ext>
            </a:extLst>
          </p:cNvPr>
          <p:cNvSpPr>
            <a:spLocks noGrp="1"/>
          </p:cNvSpPr>
          <p:nvPr>
            <p:ph type="title" hasCustomPrompt="1"/>
          </p:nvPr>
        </p:nvSpPr>
        <p:spPr>
          <a:xfrm>
            <a:off x="398908" y="3079750"/>
            <a:ext cx="11188700" cy="698500"/>
          </a:xfrm>
        </p:spPr>
        <p:txBody>
          <a:bodyPr>
            <a:noAutofit/>
          </a:bodyPr>
          <a:lstStyle>
            <a:lvl1pPr>
              <a:defRPr sz="4000" b="1">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133526188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GB" noProof="0" dirty="0"/>
              <a:t>Click icon to add picture</a:t>
            </a:r>
            <a:endParaRPr lang="en-GB"/>
          </a:p>
        </p:txBody>
      </p:sp>
      <p:sp>
        <p:nvSpPr>
          <p:cNvPr id="11" name="Title 1">
            <a:extLst>
              <a:ext uri="{FF2B5EF4-FFF2-40B4-BE49-F238E27FC236}">
                <a16:creationId xmlns:a16="http://schemas.microsoft.com/office/drawing/2014/main" id="{3D58A633-0021-4DAD-A2DA-9541178354B2}"/>
              </a:ext>
            </a:extLst>
          </p:cNvPr>
          <p:cNvSpPr>
            <a:spLocks noGrp="1"/>
          </p:cNvSpPr>
          <p:nvPr>
            <p:ph type="ctrTitle"/>
          </p:nvPr>
        </p:nvSpPr>
        <p:spPr bwMode="gray">
          <a:xfrm>
            <a:off x="275619" y="4798141"/>
            <a:ext cx="4446269" cy="1253337"/>
          </a:xfrm>
        </p:spPr>
        <p:txBody>
          <a:bodyPr anchor="t" anchorCtr="0">
            <a:noAutofit/>
          </a:bodyPr>
          <a:lstStyle>
            <a:lvl1pPr algn="l">
              <a:lnSpc>
                <a:spcPct val="100000"/>
              </a:lnSpc>
              <a:defRPr sz="2800" b="0">
                <a:solidFill>
                  <a:schemeClr val="accent1"/>
                </a:solidFill>
                <a:latin typeface="+mn-lt"/>
                <a:ea typeface="Open Sans" panose="020B0606030504020204" pitchFamily="34" charset="0"/>
                <a:cs typeface="Calibri" panose="020F0502020204030204" pitchFamily="34" charset="0"/>
              </a:defRPr>
            </a:lvl1pPr>
          </a:lstStyle>
          <a:p>
            <a:r>
              <a:rPr lang="en-GB" noProof="0" dirty="0"/>
              <a:t>Click to edit Master title style</a:t>
            </a:r>
            <a:endParaRPr lang="en-GB"/>
          </a:p>
        </p:txBody>
      </p:sp>
      <p:sp>
        <p:nvSpPr>
          <p:cNvPr id="12" name="Text Placeholder 4">
            <a:extLst>
              <a:ext uri="{FF2B5EF4-FFF2-40B4-BE49-F238E27FC236}">
                <a16:creationId xmlns:a16="http://schemas.microsoft.com/office/drawing/2014/main" id="{9195BCDD-2392-4CBF-8800-59C2AF64B3CA}"/>
              </a:ext>
            </a:extLst>
          </p:cNvPr>
          <p:cNvSpPr>
            <a:spLocks noGrp="1"/>
          </p:cNvSpPr>
          <p:nvPr>
            <p:ph type="body" sz="quarter" idx="10"/>
          </p:nvPr>
        </p:nvSpPr>
        <p:spPr>
          <a:xfrm>
            <a:off x="275619" y="6155777"/>
            <a:ext cx="4446269" cy="471053"/>
          </a:xfrm>
          <a:prstGeom prst="rect">
            <a:avLst/>
          </a:prstGeom>
        </p:spPr>
        <p:txBody>
          <a:bodyPr>
            <a:noAutofit/>
          </a:bodyPr>
          <a:lstStyle>
            <a:lvl1pPr>
              <a:spcAft>
                <a:spcPts val="0"/>
              </a:spcAft>
              <a:defRPr sz="1400">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p:txBody>
      </p:sp>
      <p:pic>
        <p:nvPicPr>
          <p:cNvPr id="957035846" name="Rectangle 1" descr="{&quot;templafy&quot;:{&quot;id&quot;:&quot;7c4e37df-8ae5-4918-a53b-907a3f51617c&quot;}}"/>
          <p:cNvPicPr>
            <a:picLocks noChangeAspect="1"/>
          </p:cNvPicPr>
          <p:nvPr/>
        </p:nvPicPr>
        <p:blipFill>
          <a:blip r:embed="rId2"/>
          <a:stretch>
            <a:fillRect/>
          </a:stretch>
        </p:blipFill>
        <p:spPr>
          <a:xfrm>
            <a:off x="469900" y="457200"/>
            <a:ext cx="2286000" cy="424405"/>
          </a:xfrm>
          <a:prstGeom prst="rect">
            <a:avLst/>
          </a:prstGeom>
        </p:spPr>
      </p:pic>
    </p:spTree>
    <p:extLst>
      <p:ext uri="{BB962C8B-B14F-4D97-AF65-F5344CB8AC3E}">
        <p14:creationId xmlns:p14="http://schemas.microsoft.com/office/powerpoint/2010/main" val="3154862098"/>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A">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393186EF-EDA6-4FB6-DBB5-0870ED2DE095}"/>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5" name="Title 4">
            <a:extLst>
              <a:ext uri="{FF2B5EF4-FFF2-40B4-BE49-F238E27FC236}">
                <a16:creationId xmlns:a16="http://schemas.microsoft.com/office/drawing/2014/main" id="{5A96E061-D2C3-FC25-D627-4011DE92818D}"/>
              </a:ext>
            </a:extLst>
          </p:cNvPr>
          <p:cNvSpPr>
            <a:spLocks noGrp="1"/>
          </p:cNvSpPr>
          <p:nvPr>
            <p:ph type="title"/>
          </p:nvPr>
        </p:nvSpPr>
        <p:spPr/>
        <p:txBody>
          <a:bodyPr/>
          <a:lstStyle/>
          <a:p>
            <a:r>
              <a:rPr lang="en-GB"/>
              <a:t>Click to edit Master title style</a:t>
            </a:r>
          </a:p>
        </p:txBody>
      </p:sp>
      <p:sp>
        <p:nvSpPr>
          <p:cNvPr id="3" name="TextBox 2">
            <a:extLst>
              <a:ext uri="{FF2B5EF4-FFF2-40B4-BE49-F238E27FC236}">
                <a16:creationId xmlns:a16="http://schemas.microsoft.com/office/drawing/2014/main" id="{E066BD66-0E58-39A7-99BA-C27C56E31FEC}"/>
              </a:ext>
            </a:extLst>
          </p:cNvPr>
          <p:cNvSpPr txBox="1"/>
          <p:nvPr userDrawn="1"/>
        </p:nvSpPr>
        <p:spPr>
          <a:xfrm>
            <a:off x="501650" y="6536661"/>
            <a:ext cx="6094206" cy="215444"/>
          </a:xfrm>
          <a:prstGeom prst="rect">
            <a:avLst/>
          </a:prstGeom>
          <a:noFill/>
        </p:spPr>
        <p:txBody>
          <a:bodyPr wrap="square">
            <a:spAutoFit/>
          </a:bodyPr>
          <a:lstStyle/>
          <a:p>
            <a:r>
              <a:rPr lang="en-GB" sz="800" noProof="0" dirty="0">
                <a:solidFill>
                  <a:srgbClr val="020203"/>
                </a:solidFill>
                <a:latin typeface="Calibri" panose="020F0502020204030204" pitchFamily="34" charset="0"/>
                <a:cs typeface="Calibri" panose="020F0502020204030204" pitchFamily="34" charset="0"/>
              </a:rPr>
              <a:t>© 2024 Deloitte LLP. All rights reserved</a:t>
            </a:r>
            <a:endParaRPr lang="en-GB" sz="800" dirty="0"/>
          </a:p>
        </p:txBody>
      </p:sp>
    </p:spTree>
    <p:extLst>
      <p:ext uri="{BB962C8B-B14F-4D97-AF65-F5344CB8AC3E}">
        <p14:creationId xmlns:p14="http://schemas.microsoft.com/office/powerpoint/2010/main" val="25489415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B">
    <p:bg>
      <p:bgRef idx="1001">
        <a:schemeClr val="bg1"/>
      </p:bgRef>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393186EF-EDA6-4FB6-DBB5-0870ED2DE095}"/>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5" name="Title 4">
            <a:extLst>
              <a:ext uri="{FF2B5EF4-FFF2-40B4-BE49-F238E27FC236}">
                <a16:creationId xmlns:a16="http://schemas.microsoft.com/office/drawing/2014/main" id="{5A96E061-D2C3-FC25-D627-4011DE92818D}"/>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11672494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188081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fullbleed">
    <p:bg bwMode="gray">
      <p:bgPr>
        <a:solidFill>
          <a:schemeClr val="tx1"/>
        </a:solidFill>
        <a:effectLst/>
      </p:bgPr>
    </p:bg>
    <p:spTree>
      <p:nvGrpSpPr>
        <p:cNvPr id="1" name=""/>
        <p:cNvGrpSpPr/>
        <p:nvPr/>
      </p:nvGrpSpPr>
      <p:grpSpPr>
        <a:xfrm>
          <a:off x="0" y="0"/>
          <a:ext cx="0" cy="0"/>
          <a:chOff x="0" y="0"/>
          <a:chExt cx="0" cy="0"/>
        </a:xfrm>
      </p:grpSpPr>
      <p:pic>
        <p:nvPicPr>
          <p:cNvPr id="7" name="Picture Placeholder 5">
            <a:extLst>
              <a:ext uri="{FF2B5EF4-FFF2-40B4-BE49-F238E27FC236}">
                <a16:creationId xmlns:a16="http://schemas.microsoft.com/office/drawing/2014/main" id="{82DE93FF-A71F-43E7-9ABE-80BFBAA5F412}"/>
              </a:ext>
            </a:extLst>
          </p:cNvPr>
          <p:cNvPicPr>
            <a:picLocks noChangeAspect="1"/>
          </p:cNvPicPr>
          <p:nvPr userDrawn="1"/>
        </p:nvPicPr>
        <p:blipFill rotWithShape="1">
          <a:blip r:embed="rId2"/>
          <a:srcRect t="2573" b="1131"/>
          <a:stretch/>
        </p:blipFill>
        <p:spPr>
          <a:xfrm>
            <a:off x="0" y="0"/>
            <a:ext cx="12277725" cy="6858000"/>
          </a:xfrm>
          <a:prstGeom prst="rect">
            <a:avLst/>
          </a:prstGeom>
        </p:spPr>
      </p:pic>
      <p:sp>
        <p:nvSpPr>
          <p:cNvPr id="11" name="Title 1">
            <a:extLst>
              <a:ext uri="{FF2B5EF4-FFF2-40B4-BE49-F238E27FC236}">
                <a16:creationId xmlns:a16="http://schemas.microsoft.com/office/drawing/2014/main" id="{3D58A633-0021-4DAD-A2DA-9541178354B2}"/>
              </a:ext>
            </a:extLst>
          </p:cNvPr>
          <p:cNvSpPr>
            <a:spLocks noGrp="1"/>
          </p:cNvSpPr>
          <p:nvPr>
            <p:ph type="ctrTitle"/>
          </p:nvPr>
        </p:nvSpPr>
        <p:spPr bwMode="gray">
          <a:xfrm>
            <a:off x="275619" y="4798141"/>
            <a:ext cx="4446269" cy="1253337"/>
          </a:xfrm>
        </p:spPr>
        <p:txBody>
          <a:bodyPr anchor="t" anchorCtr="0">
            <a:noAutofit/>
          </a:bodyPr>
          <a:lstStyle>
            <a:lvl1pPr algn="l">
              <a:lnSpc>
                <a:spcPct val="100000"/>
              </a:lnSpc>
              <a:defRPr sz="2800" b="0">
                <a:solidFill>
                  <a:schemeClr val="accent1"/>
                </a:solidFill>
                <a:latin typeface="+mn-lt"/>
                <a:ea typeface="Open Sans" panose="020B0606030504020204" pitchFamily="34" charset="0"/>
                <a:cs typeface="Calibri" panose="020F0502020204030204" pitchFamily="34" charset="0"/>
              </a:defRPr>
            </a:lvl1pPr>
          </a:lstStyle>
          <a:p>
            <a:r>
              <a:rPr lang="en-GB" noProof="0" dirty="0"/>
              <a:t>Click to edit Master title style</a:t>
            </a:r>
            <a:endParaRPr lang="en-GB"/>
          </a:p>
        </p:txBody>
      </p:sp>
      <p:sp>
        <p:nvSpPr>
          <p:cNvPr id="12" name="Text Placeholder 4">
            <a:extLst>
              <a:ext uri="{FF2B5EF4-FFF2-40B4-BE49-F238E27FC236}">
                <a16:creationId xmlns:a16="http://schemas.microsoft.com/office/drawing/2014/main" id="{9195BCDD-2392-4CBF-8800-59C2AF64B3CA}"/>
              </a:ext>
            </a:extLst>
          </p:cNvPr>
          <p:cNvSpPr>
            <a:spLocks noGrp="1"/>
          </p:cNvSpPr>
          <p:nvPr>
            <p:ph type="body" sz="quarter" idx="10"/>
          </p:nvPr>
        </p:nvSpPr>
        <p:spPr>
          <a:xfrm>
            <a:off x="275619" y="6155777"/>
            <a:ext cx="4446269" cy="471053"/>
          </a:xfrm>
          <a:prstGeom prst="rect">
            <a:avLst/>
          </a:prstGeom>
        </p:spPr>
        <p:txBody>
          <a:bodyPr>
            <a:noAutofit/>
          </a:bodyPr>
          <a:lstStyle>
            <a:lvl1pPr>
              <a:spcAft>
                <a:spcPts val="0"/>
              </a:spcAft>
              <a:defRPr sz="1400">
                <a:solidFill>
                  <a:schemeClr val="bg1"/>
                </a:solidFill>
                <a:latin typeface="+mj-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a:p>
        </p:txBody>
      </p:sp>
      <p:pic>
        <p:nvPicPr>
          <p:cNvPr id="1603728161" name="Rectangle 1" descr="{&quot;templafy&quot;:{&quot;id&quot;:&quot;3288bd6f-0bd7-4629-917b-d2e500ae63eb&quot;}}"/>
          <p:cNvPicPr>
            <a:picLocks noChangeAspect="1"/>
          </p:cNvPicPr>
          <p:nvPr/>
        </p:nvPicPr>
        <p:blipFill>
          <a:blip r:embed="rId3"/>
          <a:stretch>
            <a:fillRect/>
          </a:stretch>
        </p:blipFill>
        <p:spPr>
          <a:xfrm>
            <a:off x="469900" y="457200"/>
            <a:ext cx="2286000" cy="424405"/>
          </a:xfrm>
          <a:prstGeom prst="rect">
            <a:avLst/>
          </a:prstGeom>
        </p:spPr>
      </p:pic>
    </p:spTree>
    <p:extLst>
      <p:ext uri="{BB962C8B-B14F-4D97-AF65-F5344CB8AC3E}">
        <p14:creationId xmlns:p14="http://schemas.microsoft.com/office/powerpoint/2010/main" val="131442202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pyright">
    <p:spTree>
      <p:nvGrpSpPr>
        <p:cNvPr id="1" name=""/>
        <p:cNvGrpSpPr/>
        <p:nvPr/>
      </p:nvGrpSpPr>
      <p:grpSpPr>
        <a:xfrm>
          <a:off x="0" y="0"/>
          <a:ext cx="0" cy="0"/>
          <a:chOff x="0" y="0"/>
          <a:chExt cx="0" cy="0"/>
        </a:xfrm>
      </p:grpSpPr>
      <p:sp>
        <p:nvSpPr>
          <p:cNvPr id="6" name="text" descr="{&quot;templafy&quot;:{&quot;id&quot;:&quot;030d02b5-b15d-433e-8151-1fc3c36a03c2&quot;}}" title="UserProfile.LegalEntity.{{Form.InternalExternal.PowerpointPrefix}}_{{DocumentLanguage}}">
            <a:extLst>
              <a:ext uri="{FF2B5EF4-FFF2-40B4-BE49-F238E27FC236}">
                <a16:creationId xmlns:a16="http://schemas.microsoft.com/office/drawing/2014/main" id="{DCA91DAB-6E34-AD89-3563-3BAF100334EA}"/>
              </a:ext>
            </a:extLst>
          </p:cNvPr>
          <p:cNvSpPr txBox="1"/>
          <p:nvPr userDrawn="1"/>
        </p:nvSpPr>
        <p:spPr>
          <a:xfrm>
            <a:off x="474359" y="2756620"/>
            <a:ext cx="7623175" cy="3999600"/>
          </a:xfrm>
          <a:prstGeom prst="rect">
            <a:avLst/>
          </a:prstGeom>
          <a:noFill/>
        </p:spPr>
        <p:txBody>
          <a:bodyPr wrap="square" lIns="0" tIns="0" rIns="0" bIns="0" rtlCol="0" anchor="b" anchorCtr="0">
            <a:noAutofit/>
          </a:bodyPr>
          <a:lstStyle/>
          <a:p>
            <a:r>
              <a:rPr lang="en-GB" sz="900" kern="1200" dirty="0">
                <a:solidFill>
                  <a:schemeClr val="tx1"/>
                </a:solidFill>
                <a:effectLst/>
                <a:latin typeface="Calibri Light" panose="020F0302020204030204" pitchFamily="34" charset="0"/>
                <a:ea typeface="+mn-ea"/>
                <a:cs typeface="Calibri Light" panose="020F0302020204030204" pitchFamily="34" charset="0"/>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1 New Street Square, London, EC4A 3HQ, United Kingdom. 
Deloitte LLP is the United Kingdom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
© 2024 Deloitte LLP. All rights reserved.</a:t>
            </a:r>
          </a:p>
        </p:txBody>
      </p:sp>
      <p:pic>
        <p:nvPicPr>
          <p:cNvPr id="667606005" name="Rectangle 1" descr="{&quot;templafy&quot;:{&quot;id&quot;:&quot;3cbafa7e-3a6d-4bed-ba49-faff2393afbd&quot;}}"/>
          <p:cNvPicPr>
            <a:picLocks noChangeAspect="1"/>
          </p:cNvPicPr>
          <p:nvPr/>
        </p:nvPicPr>
        <p:blipFill>
          <a:blip r:embed="rId2"/>
          <a:stretch>
            <a:fillRect/>
          </a:stretch>
        </p:blipFill>
        <p:spPr>
          <a:xfrm>
            <a:off x="469900" y="457200"/>
            <a:ext cx="2286000" cy="425482"/>
          </a:xfrm>
          <a:prstGeom prst="rect">
            <a:avLst/>
          </a:prstGeom>
        </p:spPr>
      </p:pic>
    </p:spTree>
    <p:extLst>
      <p:ext uri="{BB962C8B-B14F-4D97-AF65-F5344CB8AC3E}">
        <p14:creationId xmlns:p14="http://schemas.microsoft.com/office/powerpoint/2010/main" val="10561155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right">
    <p:bg>
      <p:bgPr>
        <a:solidFill>
          <a:schemeClr val="tx1"/>
        </a:solidFill>
        <a:effectLst/>
      </p:bgPr>
    </p:bg>
    <p:spTree>
      <p:nvGrpSpPr>
        <p:cNvPr id="1" name=""/>
        <p:cNvGrpSpPr/>
        <p:nvPr/>
      </p:nvGrpSpPr>
      <p:grpSpPr>
        <a:xfrm>
          <a:off x="0" y="0"/>
          <a:ext cx="0" cy="0"/>
          <a:chOff x="0" y="0"/>
          <a:chExt cx="0" cy="0"/>
        </a:xfrm>
      </p:grpSpPr>
      <p:sp>
        <p:nvSpPr>
          <p:cNvPr id="12" name="text" descr="{&quot;templafy&quot;:{&quot;id&quot;:&quot;868df5ac-7443-4a35-8dcc-2257df4af6cb&quot;}}" title="UserProfile.LegalEntity.{{Form.InternalExternal.PowerpointPrefix}}_{{DocumentLanguage}}">
            <a:extLst>
              <a:ext uri="{FF2B5EF4-FFF2-40B4-BE49-F238E27FC236}">
                <a16:creationId xmlns:a16="http://schemas.microsoft.com/office/drawing/2014/main" id="{1FFD8E91-A3AC-40C3-E418-DBF7D3FFF5DB}"/>
              </a:ext>
            </a:extLst>
          </p:cNvPr>
          <p:cNvSpPr txBox="1"/>
          <p:nvPr userDrawn="1"/>
        </p:nvSpPr>
        <p:spPr>
          <a:xfrm>
            <a:off x="474359" y="2756620"/>
            <a:ext cx="7623175" cy="3999600"/>
          </a:xfrm>
          <a:prstGeom prst="rect">
            <a:avLst/>
          </a:prstGeom>
          <a:noFill/>
        </p:spPr>
        <p:txBody>
          <a:bodyPr wrap="square" lIns="0" tIns="0" rIns="0" bIns="0" rtlCol="0" anchor="b" anchorCtr="0">
            <a:noAutofit/>
          </a:bodyPr>
          <a:lstStyle/>
          <a:p>
            <a:r>
              <a:rPr lang="en-GB" sz="900" kern="1200" dirty="0">
                <a:solidFill>
                  <a:schemeClr val="bg1"/>
                </a:solidFill>
                <a:effectLst/>
                <a:latin typeface="Calibri Light" panose="020F0302020204030204" pitchFamily="34" charset="0"/>
                <a:ea typeface="+mn-ea"/>
                <a:cs typeface="Calibri Light" panose="020F0302020204030204" pitchFamily="34" charset="0"/>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1 New Street Square, London, EC4A 3HQ, United Kingdom. 
Deloitte LLP is the United Kingdom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
© 2024 Deloitte LLP. All rights reserved.</a:t>
            </a:r>
          </a:p>
        </p:txBody>
      </p:sp>
      <p:pic>
        <p:nvPicPr>
          <p:cNvPr id="186008860" name="Rectangle 1" descr="{&quot;templafy&quot;:{&quot;id&quot;:&quot;480fe19e-4bd9-4d45-8687-556b9f9f14ab&quot;}}"/>
          <p:cNvPicPr>
            <a:picLocks noChangeAspect="1"/>
          </p:cNvPicPr>
          <p:nvPr/>
        </p:nvPicPr>
        <p:blipFill>
          <a:blip r:embed="rId2"/>
          <a:stretch>
            <a:fillRect/>
          </a:stretch>
        </p:blipFill>
        <p:spPr>
          <a:xfrm>
            <a:off x="469900" y="457200"/>
            <a:ext cx="2286000" cy="424405"/>
          </a:xfrm>
          <a:prstGeom prst="rect">
            <a:avLst/>
          </a:prstGeom>
        </p:spPr>
      </p:pic>
    </p:spTree>
    <p:extLst>
      <p:ext uri="{BB962C8B-B14F-4D97-AF65-F5344CB8AC3E}">
        <p14:creationId xmlns:p14="http://schemas.microsoft.com/office/powerpoint/2010/main" val="15839858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Cover: White">
    <p:bg bwMode="gray">
      <p:bgPr>
        <a:solidFill>
          <a:srgbClr val="FCFCF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7E632D-2215-0F43-9612-C8E98E11B36D}"/>
              </a:ext>
            </a:extLst>
          </p:cNvPr>
          <p:cNvPicPr>
            <a:picLocks noChangeAspect="1"/>
          </p:cNvPicPr>
          <p:nvPr userDrawn="1"/>
        </p:nvPicPr>
        <p:blipFill>
          <a:blip r:embed="rId2"/>
          <a:stretch>
            <a:fillRect/>
          </a:stretch>
        </p:blipFill>
        <p:spPr>
          <a:xfrm>
            <a:off x="730224" y="410751"/>
            <a:ext cx="10731553" cy="6036499"/>
          </a:xfrm>
          <a:prstGeom prst="rect">
            <a:avLst/>
          </a:prstGeom>
        </p:spPr>
      </p:pic>
      <p:sp>
        <p:nvSpPr>
          <p:cNvPr id="47" name="Text Placeholder 4">
            <a:extLst>
              <a:ext uri="{FF2B5EF4-FFF2-40B4-BE49-F238E27FC236}">
                <a16:creationId xmlns:a16="http://schemas.microsoft.com/office/drawing/2014/main" id="{D744C2FD-5D55-2A42-8FF1-56E02BFAF95D}"/>
              </a:ext>
            </a:extLst>
          </p:cNvPr>
          <p:cNvSpPr>
            <a:spLocks noGrp="1"/>
          </p:cNvSpPr>
          <p:nvPr>
            <p:ph type="body" sz="quarter" idx="10" hasCustomPrompt="1"/>
          </p:nvPr>
        </p:nvSpPr>
        <p:spPr>
          <a:xfrm>
            <a:off x="463296" y="619473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September 2021</a:t>
            </a:r>
          </a:p>
        </p:txBody>
      </p:sp>
      <p:sp>
        <p:nvSpPr>
          <p:cNvPr id="48" name="Title 1">
            <a:extLst>
              <a:ext uri="{FF2B5EF4-FFF2-40B4-BE49-F238E27FC236}">
                <a16:creationId xmlns:a16="http://schemas.microsoft.com/office/drawing/2014/main" id="{FB697357-EE3A-E347-AC22-BD45D8649FA5}"/>
              </a:ext>
            </a:extLst>
          </p:cNvPr>
          <p:cNvSpPr>
            <a:spLocks noGrp="1"/>
          </p:cNvSpPr>
          <p:nvPr>
            <p:ph type="ctrTitle" hasCustomPrompt="1"/>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dirty="0"/>
              <a:t>HSBC Identity and Access Management (IAM)</a:t>
            </a:r>
          </a:p>
        </p:txBody>
      </p:sp>
      <p:pic>
        <p:nvPicPr>
          <p:cNvPr id="4" name="Picture 3">
            <a:extLst>
              <a:ext uri="{FF2B5EF4-FFF2-40B4-BE49-F238E27FC236}">
                <a16:creationId xmlns:a16="http://schemas.microsoft.com/office/drawing/2014/main" id="{94A2A569-524A-DD4D-842E-10EF2026045B}"/>
              </a:ext>
            </a:extLst>
          </p:cNvPr>
          <p:cNvPicPr>
            <a:picLocks noChangeAspect="1"/>
          </p:cNvPicPr>
          <p:nvPr userDrawn="1"/>
        </p:nvPicPr>
        <p:blipFill>
          <a:blip r:embed="rId3"/>
          <a:stretch>
            <a:fillRect/>
          </a:stretch>
        </p:blipFill>
        <p:spPr>
          <a:xfrm>
            <a:off x="429207" y="314907"/>
            <a:ext cx="1958393" cy="425338"/>
          </a:xfrm>
          <a:prstGeom prst="rect">
            <a:avLst/>
          </a:prstGeom>
        </p:spPr>
      </p:pic>
      <p:sp>
        <p:nvSpPr>
          <p:cNvPr id="2" name="TextBox 1">
            <a:extLst>
              <a:ext uri="{FF2B5EF4-FFF2-40B4-BE49-F238E27FC236}">
                <a16:creationId xmlns:a16="http://schemas.microsoft.com/office/drawing/2014/main" id="{49199883-D007-4BB0-5B49-7A7F3FB3BDCA}"/>
              </a:ext>
            </a:extLst>
          </p:cNvPr>
          <p:cNvSpPr txBox="1"/>
          <p:nvPr userDrawn="1"/>
        </p:nvSpPr>
        <p:spPr>
          <a:xfrm>
            <a:off x="501650" y="6536661"/>
            <a:ext cx="6094206" cy="215444"/>
          </a:xfrm>
          <a:prstGeom prst="rect">
            <a:avLst/>
          </a:prstGeom>
          <a:noFill/>
        </p:spPr>
        <p:txBody>
          <a:bodyPr wrap="square">
            <a:spAutoFit/>
          </a:bodyPr>
          <a:lstStyle/>
          <a:p>
            <a:r>
              <a:rPr lang="en-GB" sz="800" noProof="0" dirty="0">
                <a:solidFill>
                  <a:srgbClr val="020203"/>
                </a:solidFill>
                <a:latin typeface="Calibri" panose="020F0502020204030204" pitchFamily="34" charset="0"/>
                <a:cs typeface="Calibri" panose="020F0502020204030204" pitchFamily="34" charset="0"/>
              </a:rPr>
              <a:t>© 2024 Deloitte LLP. All rights reserved</a:t>
            </a:r>
            <a:endParaRPr lang="en-GB" sz="800" dirty="0"/>
          </a:p>
        </p:txBody>
      </p:sp>
    </p:spTree>
    <p:extLst>
      <p:ext uri="{BB962C8B-B14F-4D97-AF65-F5344CB8AC3E}">
        <p14:creationId xmlns:p14="http://schemas.microsoft.com/office/powerpoint/2010/main" val="376869616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mp; subtitle+section name on top">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51105" y="1176809"/>
            <a:ext cx="10911839" cy="686982"/>
          </a:xfrm>
          <a:prstGeom prst="rect">
            <a:avLst/>
          </a:prstGeom>
        </p:spPr>
        <p:txBody>
          <a:bodyPr lIns="0" tIns="0" rIns="0" bIns="0">
            <a:noAutofit/>
          </a:bodyPr>
          <a:lstStyle>
            <a:lvl1pPr marL="0" indent="0">
              <a:buNone/>
              <a:defRPr sz="1400" b="0" i="1">
                <a:solidFill>
                  <a:schemeClr val="tx2"/>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51105" y="842710"/>
            <a:ext cx="10911839" cy="334099"/>
          </a:xfrm>
          <a:prstGeom prst="rect">
            <a:avLst/>
          </a:prstGeom>
        </p:spPr>
        <p:txBody>
          <a:bodyPr vert="horz" lIns="0" tIns="0" rIns="0" bIns="0" rtlCol="0" anchor="t" anchorCtr="0">
            <a:noAutofit/>
          </a:bodyPr>
          <a:lstStyle>
            <a:lvl1pPr>
              <a:defRPr sz="2100">
                <a:latin typeface="+mj-lt"/>
              </a:defRPr>
            </a:lvl1pPr>
          </a:lstStyle>
          <a:p>
            <a:r>
              <a:rPr lang="en-US" dirty="0"/>
              <a:t>Click to add title</a:t>
            </a:r>
          </a:p>
        </p:txBody>
      </p:sp>
      <p:sp>
        <p:nvSpPr>
          <p:cNvPr id="3" name="Text Placeholder 2">
            <a:extLst>
              <a:ext uri="{FF2B5EF4-FFF2-40B4-BE49-F238E27FC236}">
                <a16:creationId xmlns:a16="http://schemas.microsoft.com/office/drawing/2014/main" id="{5DB6C381-9C69-4976-F5D5-53D664CE97C4}"/>
              </a:ext>
            </a:extLst>
          </p:cNvPr>
          <p:cNvSpPr>
            <a:spLocks noGrp="1"/>
          </p:cNvSpPr>
          <p:nvPr>
            <p:ph type="body" sz="quarter" idx="23" hasCustomPrompt="1"/>
          </p:nvPr>
        </p:nvSpPr>
        <p:spPr>
          <a:xfrm>
            <a:off x="457200" y="342900"/>
            <a:ext cx="3860799" cy="377190"/>
          </a:xfrm>
        </p:spPr>
        <p:txBody>
          <a:bodyPr anchor="b">
            <a:normAutofit/>
          </a:bodyPr>
          <a:lstStyle>
            <a:lvl1pPr>
              <a:defRPr sz="1050">
                <a:solidFill>
                  <a:srgbClr val="97999B"/>
                </a:solidFill>
              </a:defRPr>
            </a:lvl1pPr>
          </a:lstStyle>
          <a:p>
            <a:pPr lvl="0"/>
            <a:r>
              <a:rPr lang="en-US" dirty="0"/>
              <a:t>SECTION NAME</a:t>
            </a:r>
          </a:p>
        </p:txBody>
      </p:sp>
    </p:spTree>
    <p:extLst>
      <p:ext uri="{BB962C8B-B14F-4D97-AF65-F5344CB8AC3E}">
        <p14:creationId xmlns:p14="http://schemas.microsoft.com/office/powerpoint/2010/main" val="1121431623"/>
      </p:ext>
    </p:extLst>
  </p:cSld>
  <p:clrMapOvr>
    <a:masterClrMapping/>
  </p:clrMapOvr>
  <p:transition>
    <p:fade/>
  </p:transition>
  <p:extLst>
    <p:ext uri="{DCECCB84-F9BA-43D5-87BE-67443E8EF086}">
      <p15:sldGuideLst xmlns:p15="http://schemas.microsoft.com/office/powerpoint/2012/main">
        <p15:guide id="1" pos="38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hite">
    <p:bg bwMode="gray">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FCBFBA0-ADC5-4143-82F3-1CE731DCC1B3}"/>
              </a:ext>
            </a:extLst>
          </p:cNvPr>
          <p:cNvPicPr>
            <a:picLocks noChangeAspect="1"/>
          </p:cNvPicPr>
          <p:nvPr userDrawn="1"/>
        </p:nvPicPr>
        <p:blipFill>
          <a:blip r:embed="rId2"/>
          <a:stretch>
            <a:fillRect/>
          </a:stretch>
        </p:blipFill>
        <p:spPr>
          <a:xfrm>
            <a:off x="3750845" y="1241650"/>
            <a:ext cx="4690310" cy="4374700"/>
          </a:xfrm>
          <a:prstGeom prst="rect">
            <a:avLst/>
          </a:prstGeom>
        </p:spPr>
      </p:pic>
      <p:sp>
        <p:nvSpPr>
          <p:cNvPr id="47" name="Text Placeholder 4">
            <a:extLst>
              <a:ext uri="{FF2B5EF4-FFF2-40B4-BE49-F238E27FC236}">
                <a16:creationId xmlns:a16="http://schemas.microsoft.com/office/drawing/2014/main" id="{D744C2FD-5D55-2A42-8FF1-56E02BFAF95D}"/>
              </a:ext>
            </a:extLst>
          </p:cNvPr>
          <p:cNvSpPr>
            <a:spLocks noGrp="1"/>
          </p:cNvSpPr>
          <p:nvPr>
            <p:ph type="body" sz="quarter" idx="10" hasCustomPrompt="1"/>
          </p:nvPr>
        </p:nvSpPr>
        <p:spPr>
          <a:xfrm>
            <a:off x="463296" y="619473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September 2021</a:t>
            </a:r>
          </a:p>
        </p:txBody>
      </p:sp>
      <p:sp>
        <p:nvSpPr>
          <p:cNvPr id="48" name="Title 1">
            <a:extLst>
              <a:ext uri="{FF2B5EF4-FFF2-40B4-BE49-F238E27FC236}">
                <a16:creationId xmlns:a16="http://schemas.microsoft.com/office/drawing/2014/main" id="{FB697357-EE3A-E347-AC22-BD45D8649FA5}"/>
              </a:ext>
            </a:extLst>
          </p:cNvPr>
          <p:cNvSpPr>
            <a:spLocks noGrp="1"/>
          </p:cNvSpPr>
          <p:nvPr>
            <p:ph type="ctrTitle" hasCustomPrompt="1"/>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dirty="0"/>
              <a:t>HSBC Identity and Access Management (IAM)</a:t>
            </a:r>
          </a:p>
        </p:txBody>
      </p:sp>
      <p:pic>
        <p:nvPicPr>
          <p:cNvPr id="4" name="Picture 3">
            <a:extLst>
              <a:ext uri="{FF2B5EF4-FFF2-40B4-BE49-F238E27FC236}">
                <a16:creationId xmlns:a16="http://schemas.microsoft.com/office/drawing/2014/main" id="{94A2A569-524A-DD4D-842E-10EF2026045B}"/>
              </a:ext>
            </a:extLst>
          </p:cNvPr>
          <p:cNvPicPr>
            <a:picLocks noChangeAspect="1"/>
          </p:cNvPicPr>
          <p:nvPr userDrawn="1"/>
        </p:nvPicPr>
        <p:blipFill>
          <a:blip r:embed="rId3"/>
          <a:stretch>
            <a:fillRect/>
          </a:stretch>
        </p:blipFill>
        <p:spPr>
          <a:xfrm>
            <a:off x="429207" y="314907"/>
            <a:ext cx="1958393" cy="425338"/>
          </a:xfrm>
          <a:prstGeom prst="rect">
            <a:avLst/>
          </a:prstGeom>
        </p:spPr>
      </p:pic>
    </p:spTree>
    <p:extLst>
      <p:ext uri="{BB962C8B-B14F-4D97-AF65-F5344CB8AC3E}">
        <p14:creationId xmlns:p14="http://schemas.microsoft.com/office/powerpoint/2010/main" val="2451045414"/>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over: White">
    <p:bg bwMode="gray">
      <p:bgPr>
        <a:solidFill>
          <a:srgbClr val="FCFCFF"/>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87E632D-2215-0F43-9612-C8E98E11B36D}"/>
              </a:ext>
            </a:extLst>
          </p:cNvPr>
          <p:cNvPicPr>
            <a:picLocks noChangeAspect="1"/>
          </p:cNvPicPr>
          <p:nvPr userDrawn="1"/>
        </p:nvPicPr>
        <p:blipFill>
          <a:blip r:embed="rId2"/>
          <a:stretch>
            <a:fillRect/>
          </a:stretch>
        </p:blipFill>
        <p:spPr>
          <a:xfrm>
            <a:off x="730224" y="410751"/>
            <a:ext cx="10731553" cy="6036499"/>
          </a:xfrm>
          <a:prstGeom prst="rect">
            <a:avLst/>
          </a:prstGeom>
        </p:spPr>
      </p:pic>
      <p:sp>
        <p:nvSpPr>
          <p:cNvPr id="47" name="Text Placeholder 4">
            <a:extLst>
              <a:ext uri="{FF2B5EF4-FFF2-40B4-BE49-F238E27FC236}">
                <a16:creationId xmlns:a16="http://schemas.microsoft.com/office/drawing/2014/main" id="{D744C2FD-5D55-2A42-8FF1-56E02BFAF95D}"/>
              </a:ext>
            </a:extLst>
          </p:cNvPr>
          <p:cNvSpPr>
            <a:spLocks noGrp="1"/>
          </p:cNvSpPr>
          <p:nvPr>
            <p:ph type="body" sz="quarter" idx="10" hasCustomPrompt="1"/>
          </p:nvPr>
        </p:nvSpPr>
        <p:spPr>
          <a:xfrm>
            <a:off x="463296" y="6194734"/>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September 2021</a:t>
            </a:r>
          </a:p>
        </p:txBody>
      </p:sp>
      <p:sp>
        <p:nvSpPr>
          <p:cNvPr id="48" name="Title 1">
            <a:extLst>
              <a:ext uri="{FF2B5EF4-FFF2-40B4-BE49-F238E27FC236}">
                <a16:creationId xmlns:a16="http://schemas.microsoft.com/office/drawing/2014/main" id="{FB697357-EE3A-E347-AC22-BD45D8649FA5}"/>
              </a:ext>
            </a:extLst>
          </p:cNvPr>
          <p:cNvSpPr>
            <a:spLocks noGrp="1"/>
          </p:cNvSpPr>
          <p:nvPr>
            <p:ph type="ctrTitle" hasCustomPrompt="1"/>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dirty="0"/>
              <a:t>HSBC Identity and Access Management (IAM)</a:t>
            </a:r>
          </a:p>
        </p:txBody>
      </p:sp>
      <p:pic>
        <p:nvPicPr>
          <p:cNvPr id="4" name="Picture 3">
            <a:extLst>
              <a:ext uri="{FF2B5EF4-FFF2-40B4-BE49-F238E27FC236}">
                <a16:creationId xmlns:a16="http://schemas.microsoft.com/office/drawing/2014/main" id="{94A2A569-524A-DD4D-842E-10EF2026045B}"/>
              </a:ext>
            </a:extLst>
          </p:cNvPr>
          <p:cNvPicPr>
            <a:picLocks noChangeAspect="1"/>
          </p:cNvPicPr>
          <p:nvPr userDrawn="1"/>
        </p:nvPicPr>
        <p:blipFill>
          <a:blip r:embed="rId3"/>
          <a:stretch>
            <a:fillRect/>
          </a:stretch>
        </p:blipFill>
        <p:spPr>
          <a:xfrm>
            <a:off x="429207" y="314907"/>
            <a:ext cx="1958393" cy="425338"/>
          </a:xfrm>
          <a:prstGeom prst="rect">
            <a:avLst/>
          </a:prstGeom>
        </p:spPr>
      </p:pic>
    </p:spTree>
    <p:extLst>
      <p:ext uri="{BB962C8B-B14F-4D97-AF65-F5344CB8AC3E}">
        <p14:creationId xmlns:p14="http://schemas.microsoft.com/office/powerpoint/2010/main" val="3229138893"/>
      </p:ext>
    </p:extLst>
  </p:cSld>
  <p:clrMapOvr>
    <a:masterClrMapping/>
  </p:clrMapOvr>
  <p:transition>
    <p:fade/>
  </p:transition>
  <p:hf hdr="0" dt="0"/>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 letter">
    <p:spTree>
      <p:nvGrpSpPr>
        <p:cNvPr id="1" name=""/>
        <p:cNvGrpSpPr/>
        <p:nvPr/>
      </p:nvGrpSpPr>
      <p:grpSpPr>
        <a:xfrm>
          <a:off x="0" y="0"/>
          <a:ext cx="0" cy="0"/>
          <a:chOff x="0" y="0"/>
          <a:chExt cx="0" cy="0"/>
        </a:xfrm>
      </p:grpSpPr>
      <p:sp>
        <p:nvSpPr>
          <p:cNvPr id="7" name="Title 16">
            <a:extLst>
              <a:ext uri="{FF2B5EF4-FFF2-40B4-BE49-F238E27FC236}">
                <a16:creationId xmlns:a16="http://schemas.microsoft.com/office/drawing/2014/main" id="{87F98188-2036-6A47-B669-B284D167AF52}"/>
              </a:ext>
            </a:extLst>
          </p:cNvPr>
          <p:cNvSpPr txBox="1">
            <a:spLocks/>
          </p:cNvSpPr>
          <p:nvPr userDrawn="1"/>
        </p:nvSpPr>
        <p:spPr bwMode="gray">
          <a:xfrm>
            <a:off x="914400" y="571500"/>
            <a:ext cx="10325100" cy="787400"/>
          </a:xfrm>
          <a:prstGeom prst="rect">
            <a:avLst/>
          </a:prstGeom>
        </p:spPr>
        <p:txBody>
          <a:bodyPr vert="horz" lIns="0" tIns="0" rIns="0" bIns="0" rtlCol="0" anchor="t" anchorCtr="0">
            <a:noAutofit/>
          </a:bodyPr>
          <a:lstStyle>
            <a:lvl1pPr algn="l" defTabSz="914400" rtl="0" eaLnBrk="1" latinLnBrk="0" hangingPunct="1">
              <a:spcBef>
                <a:spcPct val="0"/>
              </a:spcBef>
              <a:buNone/>
              <a:defRPr sz="32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3200" b="0" i="0" u="none" strike="noStrike" kern="1200" cap="none" spc="0" normalizeH="0" baseline="0" noProof="0" dirty="0">
                <a:ln>
                  <a:noFill/>
                </a:ln>
                <a:solidFill>
                  <a:sysClr val="windowText" lastClr="000000"/>
                </a:solidFill>
                <a:effectLst/>
                <a:uLnTx/>
                <a:uFillTx/>
                <a:latin typeface="Open Sans Light"/>
                <a:ea typeface="+mj-ea"/>
                <a:cs typeface="Calibri Light" panose="020F0302020204030204" pitchFamily="34" charset="0"/>
              </a:rPr>
              <a:t>Cover letter</a:t>
            </a:r>
          </a:p>
        </p:txBody>
      </p:sp>
      <p:sp>
        <p:nvSpPr>
          <p:cNvPr id="22" name="Text Placeholder 3">
            <a:extLst>
              <a:ext uri="{FF2B5EF4-FFF2-40B4-BE49-F238E27FC236}">
                <a16:creationId xmlns:a16="http://schemas.microsoft.com/office/drawing/2014/main" id="{FB7EA00C-9CE6-2D4F-830C-4F012E7C2683}"/>
              </a:ext>
            </a:extLst>
          </p:cNvPr>
          <p:cNvSpPr>
            <a:spLocks noGrp="1"/>
          </p:cNvSpPr>
          <p:nvPr>
            <p:ph type="body" sz="quarter" idx="10" hasCustomPrompt="1"/>
          </p:nvPr>
        </p:nvSpPr>
        <p:spPr>
          <a:xfrm>
            <a:off x="914400" y="1573212"/>
            <a:ext cx="7933765" cy="3845455"/>
          </a:xfrm>
        </p:spPr>
        <p:txBody>
          <a:bodyPr numCol="2" spcCol="457200">
            <a:noAutofit/>
          </a:bodyPr>
          <a:lstStyle>
            <a:lvl1pPr marL="0" marR="0" indent="0" algn="l" defTabSz="914400" rtl="0" eaLnBrk="1" fontAlgn="auto" latinLnBrk="0" hangingPunct="1">
              <a:lnSpc>
                <a:spcPct val="130000"/>
              </a:lnSpc>
              <a:spcBef>
                <a:spcPts val="0"/>
              </a:spcBef>
              <a:spcAft>
                <a:spcPts val="1200"/>
              </a:spcAft>
              <a:buClrTx/>
              <a:buSzTx/>
              <a:buFontTx/>
              <a:buNone/>
              <a:tabLst/>
              <a:defRPr kumimoji="0" lang="en-US" sz="1000" b="0" i="0" u="none" strike="noStrike" kern="1200" cap="none" spc="0" normalizeH="0" baseline="0" noProof="0">
                <a:ln>
                  <a:noFill/>
                </a:ln>
                <a:solidFill>
                  <a:srgbClr val="000000"/>
                </a:solidFill>
                <a:effectLst/>
                <a:uLnTx/>
                <a:uFillTx/>
              </a:defRPr>
            </a:lvl1pPr>
          </a:lstStyle>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mn-ea"/>
                <a:cs typeface="+mn-cs"/>
              </a:rPr>
              <a:t>Lorem ipsum </a:t>
            </a:r>
            <a:r>
              <a:rPr kumimoji="0" lang="en-GB" sz="1000" b="0" i="0" u="none" strike="noStrike" kern="1200" cap="none" spc="0" normalizeH="0" baseline="0" noProof="0" dirty="0" err="1">
                <a:ln>
                  <a:noFill/>
                </a:ln>
                <a:solidFill>
                  <a:srgbClr val="000000"/>
                </a:solidFill>
                <a:effectLst/>
                <a:uLnTx/>
                <a:uFillTx/>
                <a:latin typeface="+mn-lt"/>
                <a:ea typeface="+mn-ea"/>
                <a:cs typeface="+mn-cs"/>
              </a:rPr>
              <a:t>dolor</a:t>
            </a:r>
            <a:r>
              <a:rPr kumimoji="0" lang="en-GB" sz="1000" b="0" i="0" u="none" strike="noStrike" kern="1200" cap="none" spc="0" normalizeH="0" baseline="0" noProof="0" dirty="0">
                <a:ln>
                  <a:noFill/>
                </a:ln>
                <a:solidFill>
                  <a:srgbClr val="000000"/>
                </a:solidFill>
                <a:effectLst/>
                <a:uLnTx/>
                <a:uFillTx/>
                <a:latin typeface="+mn-lt"/>
                <a:ea typeface="+mn-ea"/>
                <a:cs typeface="+mn-cs"/>
              </a:rPr>
              <a:t> si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me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elit</a:t>
            </a:r>
            <a:r>
              <a:rPr kumimoji="0" lang="en-GB" sz="1000" b="0" i="0" u="none" strike="noStrike" kern="1200" cap="none" spc="0" normalizeH="0" baseline="0" noProof="0" dirty="0">
                <a:ln>
                  <a:noFill/>
                </a:ln>
                <a:solidFill>
                  <a:srgbClr val="000000"/>
                </a:solidFill>
                <a:effectLst/>
                <a:uLnTx/>
                <a:uFillTx/>
                <a:latin typeface="+mn-lt"/>
                <a:ea typeface="+mn-ea"/>
                <a:cs typeface="+mn-cs"/>
              </a:rPr>
              <a:t>. Integer </a:t>
            </a:r>
            <a:r>
              <a:rPr kumimoji="0" lang="en-GB" sz="1000" b="0" i="0" u="none" strike="noStrike" kern="1200" cap="none" spc="0" normalizeH="0" baseline="0" noProof="0" dirty="0" err="1">
                <a:ln>
                  <a:noFill/>
                </a:ln>
                <a:solidFill>
                  <a:srgbClr val="000000"/>
                </a:solidFill>
                <a:effectLst/>
                <a:uLnTx/>
                <a:uFillTx/>
                <a:latin typeface="+mn-lt"/>
                <a:ea typeface="+mn-ea"/>
                <a:cs typeface="+mn-cs"/>
              </a:rPr>
              <a:t>nec</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odio</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dirty="0">
                <a:ln>
                  <a:noFill/>
                </a:ln>
                <a:solidFill>
                  <a:srgbClr val="000000"/>
                </a:solidFill>
                <a:effectLst/>
                <a:uLnTx/>
                <a:uFillTx/>
                <a:latin typeface="+mn-lt"/>
                <a:ea typeface="+mn-ea"/>
                <a:cs typeface="+mn-cs"/>
              </a:rPr>
              <a:t> libero.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d</a:t>
            </a:r>
            <a:r>
              <a:rPr kumimoji="0" lang="en-GB" sz="1000" b="0" i="0" u="none" strike="noStrike" kern="1200" cap="none" spc="0" normalizeH="0" baseline="0" noProof="0" dirty="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dirty="0" err="1">
                <a:ln>
                  <a:noFill/>
                </a:ln>
                <a:solidFill>
                  <a:srgbClr val="000000"/>
                </a:solidFill>
                <a:effectLst/>
                <a:uLnTx/>
                <a:uFillTx/>
                <a:latin typeface="+mn-lt"/>
                <a:ea typeface="+mn-ea"/>
                <a:cs typeface="+mn-cs"/>
              </a:rPr>
              <a:t>dapibus</a:t>
            </a:r>
            <a:r>
              <a:rPr kumimoji="0" lang="en-GB" sz="1000" b="0" i="0" u="none" strike="noStrike" kern="1200" cap="none" spc="0" normalizeH="0" baseline="0" noProof="0" dirty="0">
                <a:ln>
                  <a:noFill/>
                </a:ln>
                <a:solidFill>
                  <a:srgbClr val="000000"/>
                </a:solidFill>
                <a:effectLst/>
                <a:uLnTx/>
                <a:uFillTx/>
                <a:latin typeface="+mn-lt"/>
                <a:ea typeface="+mn-ea"/>
                <a:cs typeface="+mn-cs"/>
              </a:rPr>
              <a:t> diam.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d</a:t>
            </a:r>
            <a:r>
              <a:rPr kumimoji="0" lang="en-GB" sz="1000" b="0" i="0" u="none" strike="noStrike" kern="1200" cap="none" spc="0" normalizeH="0" baseline="0" noProof="0" dirty="0">
                <a:ln>
                  <a:noFill/>
                </a:ln>
                <a:solidFill>
                  <a:srgbClr val="000000"/>
                </a:solidFill>
                <a:effectLst/>
                <a:uLnTx/>
                <a:uFillTx/>
                <a:latin typeface="+mn-lt"/>
                <a:ea typeface="+mn-ea"/>
                <a:cs typeface="+mn-cs"/>
              </a:rPr>
              <a:t> nisi. </a:t>
            </a:r>
            <a:r>
              <a:rPr kumimoji="0" lang="en-GB" sz="1000" b="0" i="0" u="none" strike="noStrike" kern="1200" cap="none" spc="0" normalizeH="0" baseline="0" noProof="0" dirty="0" err="1">
                <a:ln>
                  <a:noFill/>
                </a:ln>
                <a:solidFill>
                  <a:srgbClr val="000000"/>
                </a:solidFill>
                <a:effectLst/>
                <a:uLnTx/>
                <a:uFillTx/>
                <a:latin typeface="+mn-lt"/>
                <a:ea typeface="+mn-ea"/>
                <a:cs typeface="+mn-cs"/>
              </a:rPr>
              <a:t>Nulla</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qui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m</a:t>
            </a:r>
            <a:r>
              <a:rPr kumimoji="0" lang="en-GB" sz="1000" b="0" i="0" u="none" strike="noStrike" kern="1200" cap="none" spc="0" normalizeH="0" baseline="0" noProof="0" dirty="0">
                <a:ln>
                  <a:noFill/>
                </a:ln>
                <a:solidFill>
                  <a:srgbClr val="000000"/>
                </a:solidFill>
                <a:effectLst/>
                <a:uLnTx/>
                <a:uFillTx/>
                <a:latin typeface="+mn-lt"/>
                <a:ea typeface="+mn-ea"/>
                <a:cs typeface="+mn-cs"/>
              </a:rPr>
              <a:t>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nibh</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dirty="0">
                <a:ln>
                  <a:noFill/>
                </a:ln>
                <a:solidFill>
                  <a:srgbClr val="000000"/>
                </a:solidFill>
                <a:effectLst/>
                <a:uLnTx/>
                <a:uFillTx/>
                <a:latin typeface="+mn-lt"/>
                <a:ea typeface="+mn-ea"/>
                <a:cs typeface="+mn-cs"/>
              </a:rPr>
              <a:t>. Duis </a:t>
            </a:r>
            <a:r>
              <a:rPr kumimoji="0" lang="en-GB" sz="1000" b="0" i="0" u="none" strike="noStrike" kern="1200" cap="none" spc="0" normalizeH="0" baseline="0" noProof="0" dirty="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dirty="0">
                <a:ln>
                  <a:noFill/>
                </a:ln>
                <a:solidFill>
                  <a:srgbClr val="000000"/>
                </a:solidFill>
                <a:effectLst/>
                <a:uLnTx/>
                <a:uFillTx/>
                <a:latin typeface="+mn-lt"/>
                <a:ea typeface="+mn-ea"/>
                <a:cs typeface="+mn-cs"/>
              </a:rPr>
              <a:t> ipsum. </a:t>
            </a:r>
            <a:r>
              <a:rPr kumimoji="0" lang="en-GB"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mauri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Fusce</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nec</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tellu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d</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GB" sz="1000" b="0" i="0" u="none" strike="noStrike" kern="1200" cap="none" spc="0" normalizeH="0" baseline="0" noProof="0" dirty="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dirty="0" err="1">
                <a:ln>
                  <a:noFill/>
                </a:ln>
                <a:solidFill>
                  <a:srgbClr val="000000"/>
                </a:solidFill>
                <a:effectLst/>
                <a:uLnTx/>
                <a:uFillTx/>
                <a:latin typeface="+mn-lt"/>
                <a:ea typeface="+mn-ea"/>
                <a:cs typeface="+mn-cs"/>
              </a:rPr>
              <a:t>Mauri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massa</a:t>
            </a:r>
            <a:r>
              <a:rPr kumimoji="0" lang="en-GB" sz="1000" b="0" i="0" u="none" strike="noStrike" kern="1200" cap="none" spc="0" normalizeH="0" baseline="0" noProof="0" dirty="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dirty="0" err="1">
                <a:ln>
                  <a:noFill/>
                </a:ln>
                <a:solidFill>
                  <a:srgbClr val="000000"/>
                </a:solidFill>
                <a:effectLst/>
                <a:uLnTx/>
                <a:uFillTx/>
                <a:latin typeface="+mn-lt"/>
                <a:ea typeface="+mn-ea"/>
                <a:cs typeface="+mn-cs"/>
              </a:rPr>
              <a:t>arcu</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ege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nulla</a:t>
            </a:r>
            <a:r>
              <a:rPr kumimoji="0" lang="en-GB" sz="1000" b="0" i="0" u="none" strike="noStrike" kern="1200" cap="none" spc="0" normalizeH="0" baseline="0" noProof="0" dirty="0">
                <a:ln>
                  <a:noFill/>
                </a:ln>
                <a:solidFill>
                  <a:srgbClr val="000000"/>
                </a:solidFill>
                <a:effectLst/>
                <a:uLnTx/>
                <a:uFillTx/>
                <a:latin typeface="+mn-lt"/>
                <a:ea typeface="+mn-ea"/>
                <a:cs typeface="+mn-cs"/>
              </a:rPr>
              <a:t>. Class </a:t>
            </a:r>
            <a:r>
              <a:rPr kumimoji="0" lang="en-GB" sz="1000" b="0" i="0" u="none" strike="noStrike" kern="1200" cap="none" spc="0" normalizeH="0" baseline="0" noProof="0" dirty="0" err="1">
                <a:ln>
                  <a:noFill/>
                </a:ln>
                <a:solidFill>
                  <a:srgbClr val="000000"/>
                </a:solidFill>
                <a:effectLst/>
                <a:uLnTx/>
                <a:uFillTx/>
                <a:latin typeface="+mn-lt"/>
                <a:ea typeface="+mn-ea"/>
                <a:cs typeface="+mn-cs"/>
              </a:rPr>
              <a:t>apten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taciti</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dirty="0">
                <a:ln>
                  <a:noFill/>
                </a:ln>
                <a:solidFill>
                  <a:srgbClr val="000000"/>
                </a:solidFill>
                <a:effectLst/>
                <a:uLnTx/>
                <a:uFillTx/>
                <a:latin typeface="+mn-lt"/>
                <a:ea typeface="+mn-ea"/>
                <a:cs typeface="+mn-cs"/>
              </a:rPr>
              <a:t> ad </a:t>
            </a:r>
            <a:r>
              <a:rPr kumimoji="0" lang="en-GB" sz="1000" b="0" i="0" u="none" strike="noStrike" kern="1200" cap="none" spc="0" normalizeH="0" baseline="0" noProof="0" dirty="0" err="1">
                <a:ln>
                  <a:noFill/>
                </a:ln>
                <a:solidFill>
                  <a:srgbClr val="000000"/>
                </a:solidFill>
                <a:effectLst/>
                <a:uLnTx/>
                <a:uFillTx/>
                <a:latin typeface="+mn-lt"/>
                <a:ea typeface="+mn-ea"/>
                <a:cs typeface="+mn-cs"/>
              </a:rPr>
              <a:t>litora</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dirty="0">
                <a:ln>
                  <a:noFill/>
                </a:ln>
                <a:solidFill>
                  <a:srgbClr val="000000"/>
                </a:solidFill>
                <a:effectLst/>
                <a:uLnTx/>
                <a:uFillTx/>
                <a:latin typeface="+mn-lt"/>
                <a:ea typeface="+mn-ea"/>
                <a:cs typeface="+mn-cs"/>
              </a:rPr>
              <a:t> per </a:t>
            </a:r>
            <a:r>
              <a:rPr kumimoji="0" lang="en-GB" sz="1000" b="0" i="0" u="none" strike="noStrike" kern="1200" cap="none" spc="0" normalizeH="0" baseline="0" noProof="0" dirty="0" err="1">
                <a:ln>
                  <a:noFill/>
                </a:ln>
                <a:solidFill>
                  <a:srgbClr val="000000"/>
                </a:solidFill>
                <a:effectLst/>
                <a:uLnTx/>
                <a:uFillTx/>
                <a:latin typeface="+mn-lt"/>
                <a:ea typeface="+mn-ea"/>
                <a:cs typeface="+mn-cs"/>
              </a:rPr>
              <a:t>conubia</a:t>
            </a:r>
            <a:r>
              <a:rPr kumimoji="0" lang="en-GB" sz="1000" b="0" i="0" u="none" strike="noStrike" kern="1200" cap="none" spc="0" normalizeH="0" baseline="0" noProof="0" dirty="0">
                <a:ln>
                  <a:noFill/>
                </a:ln>
                <a:solidFill>
                  <a:srgbClr val="000000"/>
                </a:solidFill>
                <a:effectLst/>
                <a:uLnTx/>
                <a:uFillTx/>
                <a:latin typeface="+mn-lt"/>
                <a:ea typeface="+mn-ea"/>
                <a:cs typeface="+mn-cs"/>
              </a:rPr>
              <a:t> nostra, per </a:t>
            </a:r>
            <a:r>
              <a:rPr kumimoji="0" lang="en-GB" sz="1000" b="0" i="0" u="none" strike="noStrike" kern="1200" cap="none" spc="0" normalizeH="0" baseline="0" noProof="0" dirty="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sodales</a:t>
            </a:r>
            <a:r>
              <a:rPr kumimoji="0" lang="en-GB" sz="1000" b="0" i="0" u="none" strike="noStrike" kern="1200" cap="none" spc="0" normalizeH="0" baseline="0" noProof="0" dirty="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d</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dirty="0">
                <a:ln>
                  <a:noFill/>
                </a:ln>
                <a:solidFill>
                  <a:srgbClr val="000000"/>
                </a:solidFill>
                <a:effectLst/>
                <a:uLnTx/>
                <a:uFillTx/>
                <a:latin typeface="+mn-lt"/>
                <a:ea typeface="+mn-ea"/>
                <a:cs typeface="+mn-cs"/>
              </a:rPr>
              <a:t>.</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dirty="0" err="1">
                <a:ln>
                  <a:noFill/>
                </a:ln>
                <a:solidFill>
                  <a:srgbClr val="000000"/>
                </a:solidFill>
                <a:effectLst/>
                <a:uLnTx/>
                <a:uFillTx/>
                <a:latin typeface="+mn-lt"/>
                <a:ea typeface="+mn-ea"/>
                <a:cs typeface="+mn-cs"/>
              </a:rPr>
              <a:t>primis</a:t>
            </a:r>
            <a:r>
              <a:rPr kumimoji="0" lang="en-GB" sz="1000" b="0" i="0" u="none" strike="noStrike" kern="1200" cap="none" spc="0" normalizeH="0" baseline="0" noProof="0" dirty="0">
                <a:ln>
                  <a:noFill/>
                </a:ln>
                <a:solidFill>
                  <a:srgbClr val="000000"/>
                </a:solidFill>
                <a:effectLst/>
                <a:uLnTx/>
                <a:uFillTx/>
                <a:latin typeface="+mn-lt"/>
                <a:ea typeface="+mn-ea"/>
                <a:cs typeface="+mn-cs"/>
              </a:rPr>
              <a:t> in </a:t>
            </a:r>
            <a:r>
              <a:rPr kumimoji="0" lang="en-GB" sz="1000" b="0" i="0" u="none" strike="noStrike" kern="1200" cap="none" spc="0" normalizeH="0" baseline="0" noProof="0" dirty="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orci</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luctus</a:t>
            </a:r>
            <a:r>
              <a:rPr kumimoji="0" lang="en-GB" sz="1000" b="0" i="0" u="none" strike="noStrike" kern="1200" cap="none" spc="0" normalizeH="0" baseline="0" noProof="0" dirty="0">
                <a:ln>
                  <a:noFill/>
                </a:ln>
                <a:solidFill>
                  <a:srgbClr val="000000"/>
                </a:solidFill>
                <a:effectLst/>
                <a:uLnTx/>
                <a:uFillTx/>
                <a:latin typeface="+mn-lt"/>
                <a:ea typeface="+mn-ea"/>
                <a:cs typeface="+mn-cs"/>
              </a:rPr>
              <a:t> et </a:t>
            </a:r>
            <a:r>
              <a:rPr kumimoji="0" lang="en-GB" sz="1000" b="0" i="0" u="none" strike="noStrike" kern="1200" cap="none" spc="0" normalizeH="0" baseline="0" noProof="0" dirty="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posuere</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cubilia</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Curae</a:t>
            </a:r>
            <a:r>
              <a:rPr kumimoji="0" lang="en-GB" sz="1000" b="0" i="0" u="none" strike="noStrike" kern="1200" cap="none" spc="0" normalizeH="0" baseline="0" noProof="0" dirty="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dirty="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dirty="0">
                <a:ln>
                  <a:noFill/>
                </a:ln>
                <a:solidFill>
                  <a:srgbClr val="000000"/>
                </a:solidFill>
                <a:effectLst/>
                <a:uLnTx/>
                <a:uFillTx/>
                <a:latin typeface="+mn-lt"/>
                <a:ea typeface="+mn-ea"/>
                <a:cs typeface="+mn-cs"/>
              </a:rPr>
              <a:t> dui. </a:t>
            </a:r>
            <a:r>
              <a:rPr kumimoji="0" lang="en-GB"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blandi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dolor</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d</a:t>
            </a:r>
            <a:r>
              <a:rPr kumimoji="0" lang="en-GB" sz="1000" b="0" i="0" u="none" strike="noStrike" kern="1200" cap="none" spc="0" normalizeH="0" baseline="0" noProof="0" dirty="0">
                <a:ln>
                  <a:noFill/>
                </a:ln>
                <a:solidFill>
                  <a:srgbClr val="000000"/>
                </a:solidFill>
                <a:effectLst/>
                <a:uLnTx/>
                <a:uFillTx/>
                <a:latin typeface="+mn-lt"/>
                <a:ea typeface="+mn-ea"/>
                <a:cs typeface="+mn-cs"/>
              </a:rPr>
              <a:t> non </a:t>
            </a:r>
            <a:r>
              <a:rPr kumimoji="0" lang="en-GB" sz="1000" b="0" i="0" u="none" strike="noStrike" kern="1200" cap="none" spc="0" normalizeH="0" baseline="0" noProof="0" dirty="0" err="1">
                <a:ln>
                  <a:noFill/>
                </a:ln>
                <a:solidFill>
                  <a:srgbClr val="000000"/>
                </a:solidFill>
                <a:effectLst/>
                <a:uLnTx/>
                <a:uFillTx/>
                <a:latin typeface="+mn-lt"/>
                <a:ea typeface="+mn-ea"/>
                <a:cs typeface="+mn-cs"/>
              </a:rPr>
              <a:t>quam</a:t>
            </a:r>
            <a:r>
              <a:rPr kumimoji="0" lang="en-GB" sz="1000" b="0" i="0" u="none" strike="noStrike" kern="1200" cap="none" spc="0" normalizeH="0" baseline="0" noProof="0" dirty="0">
                <a:ln>
                  <a:noFill/>
                </a:ln>
                <a:solidFill>
                  <a:srgbClr val="000000"/>
                </a:solidFill>
                <a:effectLst/>
                <a:uLnTx/>
                <a:uFillTx/>
                <a:latin typeface="+mn-lt"/>
                <a:ea typeface="+mn-ea"/>
                <a:cs typeface="+mn-cs"/>
              </a:rPr>
              <a:t>. In </a:t>
            </a:r>
            <a:r>
              <a:rPr kumimoji="0" lang="en-GB" sz="1000" b="0" i="0" u="none" strike="noStrike" kern="1200" cap="none" spc="0" normalizeH="0" baseline="0" noProof="0" dirty="0" err="1">
                <a:ln>
                  <a:noFill/>
                </a:ln>
                <a:solidFill>
                  <a:srgbClr val="000000"/>
                </a:solidFill>
                <a:effectLst/>
                <a:uLnTx/>
                <a:uFillTx/>
                <a:latin typeface="+mn-lt"/>
                <a:ea typeface="+mn-ea"/>
                <a:cs typeface="+mn-cs"/>
              </a:rPr>
              <a:t>vel</a:t>
            </a:r>
            <a:r>
              <a:rPr kumimoji="0" lang="en-GB" sz="1000" b="0" i="0" u="none" strike="noStrike" kern="1200" cap="none" spc="0" normalizeH="0" baseline="0" noProof="0" dirty="0">
                <a:ln>
                  <a:noFill/>
                </a:ln>
                <a:solidFill>
                  <a:srgbClr val="000000"/>
                </a:solidFill>
                <a:effectLst/>
                <a:uLnTx/>
                <a:uFillTx/>
                <a:latin typeface="+mn-lt"/>
                <a:ea typeface="+mn-ea"/>
                <a:cs typeface="+mn-cs"/>
              </a:rPr>
              <a:t> mi si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me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congue</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dirty="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me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pede</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laoreet</a:t>
            </a:r>
            <a:r>
              <a:rPr kumimoji="0" lang="en-GB" sz="1000" b="0" i="0" u="none" strike="noStrike" kern="1200" cap="none" spc="0" normalizeH="0" baseline="0" noProof="0" dirty="0">
                <a:ln>
                  <a:noFill/>
                </a:ln>
                <a:solidFill>
                  <a:srgbClr val="000000"/>
                </a:solidFill>
                <a:effectLst/>
                <a:uLnTx/>
                <a:uFillTx/>
                <a:latin typeface="+mn-lt"/>
                <a:ea typeface="+mn-ea"/>
                <a:cs typeface="+mn-cs"/>
              </a:rPr>
              <a:t>. Donec </a:t>
            </a:r>
            <a:r>
              <a:rPr kumimoji="0" lang="en-GB" sz="1000" b="0" i="0" u="none" strike="noStrike" kern="1200" cap="none" spc="0" normalizeH="0" baseline="0" noProof="0" dirty="0" err="1">
                <a:ln>
                  <a:noFill/>
                </a:ln>
                <a:solidFill>
                  <a:srgbClr val="000000"/>
                </a:solidFill>
                <a:effectLst/>
                <a:uLnTx/>
                <a:uFillTx/>
                <a:latin typeface="+mn-lt"/>
                <a:ea typeface="+mn-ea"/>
                <a:cs typeface="+mn-cs"/>
              </a:rPr>
              <a:t>lacu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nunc</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viverra</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nec</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blandi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vel</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egestas</a:t>
            </a:r>
            <a:r>
              <a:rPr kumimoji="0" lang="en-GB" sz="1000" b="0" i="0" u="none" strike="noStrike" kern="1200" cap="none" spc="0" normalizeH="0" baseline="0" noProof="0" dirty="0">
                <a:ln>
                  <a:noFill/>
                </a:ln>
                <a:solidFill>
                  <a:srgbClr val="000000"/>
                </a:solidFill>
                <a:effectLst/>
                <a:uLnTx/>
                <a:uFillTx/>
                <a:latin typeface="+mn-lt"/>
                <a:ea typeface="+mn-ea"/>
                <a:cs typeface="+mn-cs"/>
              </a:rPr>
              <a:t> e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GB" sz="1000" b="0" i="0" u="none" strike="noStrike" kern="1200" cap="none" spc="0" normalizeH="0" baseline="0" noProof="0" dirty="0">
                <a:ln>
                  <a:noFill/>
                </a:ln>
                <a:solidFill>
                  <a:srgbClr val="000000"/>
                </a:solidFill>
                <a:effectLst/>
                <a:uLnTx/>
                <a:uFillTx/>
                <a:latin typeface="+mn-lt"/>
                <a:ea typeface="+mn-ea"/>
                <a:cs typeface="+mn-cs"/>
              </a:rPr>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dirty="0" err="1">
                <a:ln>
                  <a:noFill/>
                </a:ln>
                <a:solidFill>
                  <a:srgbClr val="000000"/>
                </a:solidFill>
                <a:effectLst/>
                <a:uLnTx/>
                <a:uFillTx/>
                <a:latin typeface="+mn-lt"/>
                <a:ea typeface="+mn-ea"/>
                <a:cs typeface="+mn-cs"/>
              </a:rPr>
              <a:t>Quisque</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volutpat</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condimentum</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velit</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dirty="0">
                <a:ln>
                  <a:noFill/>
                </a:ln>
                <a:solidFill>
                  <a:srgbClr val="000000"/>
                </a:solidFill>
                <a:effectLst/>
                <a:uLnTx/>
                <a:uFillTx/>
                <a:latin typeface="+mn-lt"/>
                <a:ea typeface="+mn-ea"/>
                <a:cs typeface="+mn-cs"/>
              </a:rPr>
              <a:t>Class </a:t>
            </a:r>
            <a:r>
              <a:rPr kumimoji="0" lang="en-GB" sz="1000" b="1" i="0" u="none" strike="noStrike" kern="1200" cap="none" spc="0" normalizeH="0" baseline="0" noProof="0" dirty="0" err="1">
                <a:ln>
                  <a:noFill/>
                </a:ln>
                <a:solidFill>
                  <a:srgbClr val="000000"/>
                </a:solidFill>
                <a:effectLst/>
                <a:uLnTx/>
                <a:uFillTx/>
                <a:latin typeface="+mn-lt"/>
                <a:ea typeface="+mn-ea"/>
                <a:cs typeface="+mn-cs"/>
              </a:rPr>
              <a:t>aptent</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taciti</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sociosqu</a:t>
            </a:r>
            <a:r>
              <a:rPr kumimoji="0" lang="en-GB" sz="1000" b="1" i="0" u="none" strike="noStrike" kern="1200" cap="none" spc="0" normalizeH="0" baseline="0" noProof="0" dirty="0">
                <a:ln>
                  <a:noFill/>
                </a:ln>
                <a:solidFill>
                  <a:srgbClr val="000000"/>
                </a:solidFill>
                <a:effectLst/>
                <a:uLnTx/>
                <a:uFillTx/>
                <a:latin typeface="+mn-lt"/>
                <a:ea typeface="+mn-ea"/>
                <a:cs typeface="+mn-cs"/>
              </a:rPr>
              <a:t> ad </a:t>
            </a:r>
            <a:r>
              <a:rPr kumimoji="0" lang="en-GB" sz="1000" b="1" i="0" u="none" strike="noStrike" kern="1200" cap="none" spc="0" normalizeH="0" baseline="0" noProof="0" dirty="0" err="1">
                <a:ln>
                  <a:noFill/>
                </a:ln>
                <a:solidFill>
                  <a:srgbClr val="000000"/>
                </a:solidFill>
                <a:effectLst/>
                <a:uLnTx/>
                <a:uFillTx/>
                <a:latin typeface="+mn-lt"/>
                <a:ea typeface="+mn-ea"/>
                <a:cs typeface="+mn-cs"/>
              </a:rPr>
              <a:t>litora</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torquent</a:t>
            </a:r>
            <a:r>
              <a:rPr kumimoji="0" lang="en-GB" sz="1000" b="1" i="0" u="none" strike="noStrike" kern="1200" cap="none" spc="0" normalizeH="0" baseline="0" noProof="0" dirty="0">
                <a:ln>
                  <a:noFill/>
                </a:ln>
                <a:solidFill>
                  <a:srgbClr val="000000"/>
                </a:solidFill>
                <a:effectLst/>
                <a:uLnTx/>
                <a:uFillTx/>
                <a:latin typeface="+mn-lt"/>
                <a:ea typeface="+mn-ea"/>
                <a:cs typeface="+mn-cs"/>
              </a:rPr>
              <a:t> per </a:t>
            </a:r>
            <a:r>
              <a:rPr kumimoji="0" lang="en-GB" sz="1000" b="1" i="0" u="none" strike="noStrike" kern="1200" cap="none" spc="0" normalizeH="0" baseline="0" noProof="0" dirty="0" err="1">
                <a:ln>
                  <a:noFill/>
                </a:ln>
                <a:solidFill>
                  <a:srgbClr val="000000"/>
                </a:solidFill>
                <a:effectLst/>
                <a:uLnTx/>
                <a:uFillTx/>
                <a:latin typeface="+mn-lt"/>
                <a:ea typeface="+mn-ea"/>
                <a:cs typeface="+mn-cs"/>
              </a:rPr>
              <a:t>conubia</a:t>
            </a:r>
            <a:r>
              <a:rPr kumimoji="0" lang="en-GB" sz="1000" b="1" i="0" u="none" strike="noStrike" kern="1200" cap="none" spc="0" normalizeH="0" baseline="0" noProof="0" dirty="0">
                <a:ln>
                  <a:noFill/>
                </a:ln>
                <a:solidFill>
                  <a:srgbClr val="000000"/>
                </a:solidFill>
                <a:effectLst/>
                <a:uLnTx/>
                <a:uFillTx/>
                <a:latin typeface="+mn-lt"/>
                <a:ea typeface="+mn-ea"/>
                <a:cs typeface="+mn-cs"/>
              </a:rPr>
              <a:t> nostra, per </a:t>
            </a:r>
            <a:r>
              <a:rPr kumimoji="0" lang="en-GB" sz="1000" b="1" i="0" u="none" strike="noStrike" kern="1200" cap="none" spc="0" normalizeH="0" baseline="0" noProof="0" dirty="0" err="1">
                <a:ln>
                  <a:noFill/>
                </a:ln>
                <a:solidFill>
                  <a:srgbClr val="000000"/>
                </a:solidFill>
                <a:effectLst/>
                <a:uLnTx/>
                <a:uFillTx/>
                <a:latin typeface="+mn-lt"/>
                <a:ea typeface="+mn-ea"/>
                <a:cs typeface="+mn-cs"/>
              </a:rPr>
              <a:t>inceptos</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himenaeos</a:t>
            </a:r>
            <a:endParaRPr kumimoji="0" lang="en-GB" sz="1000" b="1"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dirty="0">
                <a:ln>
                  <a:noFill/>
                </a:ln>
                <a:solidFill>
                  <a:srgbClr val="000000"/>
                </a:solidFill>
                <a:effectLst/>
                <a:uLnTx/>
                <a:uFillTx/>
                <a:latin typeface="+mn-lt"/>
                <a:ea typeface="+mn-ea"/>
                <a:cs typeface="+mn-cs"/>
              </a:rPr>
              <a:t>Nam </a:t>
            </a:r>
            <a:r>
              <a:rPr kumimoji="0" lang="en-GB" sz="1000" b="1" i="0" u="none" strike="noStrike" kern="1200" cap="none" spc="0" normalizeH="0" baseline="0" noProof="0" dirty="0" err="1">
                <a:ln>
                  <a:noFill/>
                </a:ln>
                <a:solidFill>
                  <a:srgbClr val="000000"/>
                </a:solidFill>
                <a:effectLst/>
                <a:uLnTx/>
                <a:uFillTx/>
                <a:latin typeface="+mn-lt"/>
                <a:ea typeface="+mn-ea"/>
                <a:cs typeface="+mn-cs"/>
              </a:rPr>
              <a:t>nec</a:t>
            </a:r>
            <a:r>
              <a:rPr kumimoji="0" lang="en-GB" sz="1000" b="1" i="0" u="none" strike="noStrike" kern="1200" cap="none" spc="0" normalizeH="0" baseline="0" noProof="0" dirty="0">
                <a:ln>
                  <a:noFill/>
                </a:ln>
                <a:solidFill>
                  <a:srgbClr val="000000"/>
                </a:solidFill>
                <a:effectLst/>
                <a:uLnTx/>
                <a:uFillTx/>
                <a:latin typeface="+mn-lt"/>
                <a:ea typeface="+mn-ea"/>
                <a:cs typeface="+mn-cs"/>
              </a:rPr>
              <a:t> ante. </a:t>
            </a:r>
            <a:r>
              <a:rPr kumimoji="0" lang="en-GB" sz="1000" b="1" i="0" u="none" strike="noStrike" kern="1200" cap="none" spc="0" normalizeH="0" baseline="0" noProof="0" dirty="0" err="1">
                <a:ln>
                  <a:noFill/>
                </a:ln>
                <a:solidFill>
                  <a:srgbClr val="000000"/>
                </a:solidFill>
                <a:effectLst/>
                <a:uLnTx/>
                <a:uFillTx/>
                <a:latin typeface="+mn-lt"/>
                <a:ea typeface="+mn-ea"/>
                <a:cs typeface="+mn-cs"/>
              </a:rPr>
              <a:t>Sed</a:t>
            </a:r>
            <a:r>
              <a:rPr kumimoji="0" lang="en-GB" sz="1000" b="1" i="0" u="none" strike="noStrike" kern="1200" cap="none" spc="0" normalizeH="0" baseline="0" noProof="0" dirty="0">
                <a:ln>
                  <a:noFill/>
                </a:ln>
                <a:solidFill>
                  <a:srgbClr val="000000"/>
                </a:solidFill>
                <a:effectLst/>
                <a:uLnTx/>
                <a:uFillTx/>
                <a:latin typeface="+mn-lt"/>
                <a:ea typeface="+mn-ea"/>
                <a:cs typeface="+mn-cs"/>
              </a:rPr>
              <a:t> lacinia, </a:t>
            </a:r>
            <a:r>
              <a:rPr kumimoji="0" lang="en-GB" sz="1000" b="1" i="0" u="none" strike="noStrike" kern="1200" cap="none" spc="0" normalizeH="0" baseline="0" noProof="0" dirty="0" err="1">
                <a:ln>
                  <a:noFill/>
                </a:ln>
                <a:solidFill>
                  <a:srgbClr val="000000"/>
                </a:solidFill>
                <a:effectLst/>
                <a:uLnTx/>
                <a:uFillTx/>
                <a:latin typeface="+mn-lt"/>
                <a:ea typeface="+mn-ea"/>
                <a:cs typeface="+mn-cs"/>
              </a:rPr>
              <a:t>urna</a:t>
            </a:r>
            <a:r>
              <a:rPr kumimoji="0" lang="en-GB" sz="1000" b="1" i="0" u="none" strike="noStrike" kern="1200" cap="none" spc="0" normalizeH="0" baseline="0" noProof="0" dirty="0">
                <a:ln>
                  <a:noFill/>
                </a:ln>
                <a:solidFill>
                  <a:srgbClr val="000000"/>
                </a:solidFill>
                <a:effectLst/>
                <a:uLnTx/>
                <a:uFillTx/>
                <a:latin typeface="+mn-lt"/>
                <a:ea typeface="+mn-ea"/>
                <a:cs typeface="+mn-cs"/>
              </a:rPr>
              <a:t> non </a:t>
            </a:r>
            <a:r>
              <a:rPr kumimoji="0" lang="en-GB" sz="1000" b="1" i="0" u="none" strike="noStrike" kern="1200" cap="none" spc="0" normalizeH="0" baseline="0" noProof="0" dirty="0" err="1">
                <a:ln>
                  <a:noFill/>
                </a:ln>
                <a:solidFill>
                  <a:srgbClr val="000000"/>
                </a:solidFill>
                <a:effectLst/>
                <a:uLnTx/>
                <a:uFillTx/>
                <a:latin typeface="+mn-lt"/>
                <a:ea typeface="+mn-ea"/>
                <a:cs typeface="+mn-cs"/>
              </a:rPr>
              <a:t>tincidunt</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mattis</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tortor</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neque</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adipiscing</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diam</a:t>
            </a:r>
            <a:r>
              <a:rPr kumimoji="0" lang="en-GB" sz="1000" b="1" i="0" u="none" strike="noStrike" kern="1200" cap="none" spc="0" normalizeH="0" baseline="0" noProof="0" dirty="0">
                <a:ln>
                  <a:noFill/>
                </a:ln>
                <a:solidFill>
                  <a:srgbClr val="000000"/>
                </a:solidFill>
                <a:effectLst/>
                <a:uLnTx/>
                <a:uFillTx/>
                <a:latin typeface="+mn-lt"/>
                <a:ea typeface="+mn-ea"/>
                <a:cs typeface="+mn-cs"/>
              </a:rPr>
              <a:t>, a cursus ipsum ante </a:t>
            </a:r>
            <a:r>
              <a:rPr kumimoji="0" lang="en-GB" sz="1000" b="1" i="0" u="none" strike="noStrike" kern="1200" cap="none" spc="0" normalizeH="0" baseline="0" noProof="0" dirty="0" err="1">
                <a:ln>
                  <a:noFill/>
                </a:ln>
                <a:solidFill>
                  <a:srgbClr val="000000"/>
                </a:solidFill>
                <a:effectLst/>
                <a:uLnTx/>
                <a:uFillTx/>
                <a:latin typeface="+mn-lt"/>
                <a:ea typeface="+mn-ea"/>
                <a:cs typeface="+mn-cs"/>
              </a:rPr>
              <a:t>quis</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turpis</a:t>
            </a:r>
            <a:endParaRPr kumimoji="0" lang="en-GB" sz="1000" b="1" i="0" u="none" strike="noStrike" kern="1200" cap="none" spc="0" normalizeH="0" baseline="0" noProof="0" dirty="0">
              <a:ln>
                <a:noFill/>
              </a:ln>
              <a:solidFill>
                <a:srgbClr val="000000"/>
              </a:solidFill>
              <a:effectLst/>
              <a:uLnTx/>
              <a:uFillTx/>
              <a:latin typeface="+mn-lt"/>
              <a:ea typeface="+mn-ea"/>
              <a:cs typeface="+mn-cs"/>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000" b="1" i="0" u="none" strike="noStrike" kern="1200" cap="none" spc="0" normalizeH="0" baseline="0" noProof="0" dirty="0" err="1">
                <a:ln>
                  <a:noFill/>
                </a:ln>
                <a:solidFill>
                  <a:srgbClr val="000000"/>
                </a:solidFill>
                <a:effectLst/>
                <a:uLnTx/>
                <a:uFillTx/>
                <a:latin typeface="+mn-lt"/>
                <a:ea typeface="+mn-ea"/>
                <a:cs typeface="+mn-cs"/>
              </a:rPr>
              <a:t>Nulla</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facilisi</a:t>
            </a:r>
            <a:r>
              <a:rPr kumimoji="0" lang="en-GB" sz="1000" b="1" i="0" u="none" strike="noStrike" kern="1200" cap="none" spc="0" normalizeH="0" baseline="0" noProof="0" dirty="0">
                <a:ln>
                  <a:noFill/>
                </a:ln>
                <a:solidFill>
                  <a:srgbClr val="000000"/>
                </a:solidFill>
                <a:effectLst/>
                <a:uLnTx/>
                <a:uFillTx/>
                <a:latin typeface="+mn-lt"/>
                <a:ea typeface="+mn-ea"/>
                <a:cs typeface="+mn-cs"/>
              </a:rPr>
              <a:t>. Ut </a:t>
            </a:r>
            <a:r>
              <a:rPr kumimoji="0" lang="en-GB" sz="1000" b="1" i="0" u="none" strike="noStrike" kern="1200" cap="none" spc="0" normalizeH="0" baseline="0" noProof="0" dirty="0" err="1">
                <a:ln>
                  <a:noFill/>
                </a:ln>
                <a:solidFill>
                  <a:srgbClr val="000000"/>
                </a:solidFill>
                <a:effectLst/>
                <a:uLnTx/>
                <a:uFillTx/>
                <a:latin typeface="+mn-lt"/>
                <a:ea typeface="+mn-ea"/>
                <a:cs typeface="+mn-cs"/>
              </a:rPr>
              <a:t>fringilla</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Suspendisse</a:t>
            </a:r>
            <a:r>
              <a:rPr kumimoji="0" lang="en-GB" sz="1000" b="1" i="0" u="none" strike="noStrike" kern="1200" cap="none" spc="0" normalizeH="0" baseline="0" noProof="0" dirty="0">
                <a:ln>
                  <a:noFill/>
                </a:ln>
                <a:solidFill>
                  <a:srgbClr val="000000"/>
                </a:solidFill>
                <a:effectLst/>
                <a:uLnTx/>
                <a:uFillTx/>
                <a:latin typeface="+mn-lt"/>
                <a:ea typeface="+mn-ea"/>
                <a:cs typeface="+mn-cs"/>
              </a:rPr>
              <a:t> </a:t>
            </a:r>
            <a:r>
              <a:rPr kumimoji="0" lang="en-GB" sz="1000" b="1" i="0" u="none" strike="noStrike" kern="1200" cap="none" spc="0" normalizeH="0" baseline="0" noProof="0" dirty="0" err="1">
                <a:ln>
                  <a:noFill/>
                </a:ln>
                <a:solidFill>
                  <a:srgbClr val="000000"/>
                </a:solidFill>
                <a:effectLst/>
                <a:uLnTx/>
                <a:uFillTx/>
                <a:latin typeface="+mn-lt"/>
                <a:ea typeface="+mn-ea"/>
                <a:cs typeface="+mn-cs"/>
              </a:rPr>
              <a:t>potenti</a:t>
            </a:r>
            <a:endParaRPr kumimoji="0" lang="en-GB" sz="1000" b="1"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mn-ea"/>
                <a:cs typeface="+mn-cs"/>
              </a:rPr>
              <a:t>Lorem ipsum </a:t>
            </a:r>
            <a:r>
              <a:rPr kumimoji="0" lang="en-GB" sz="1000" b="0" i="0" u="none" strike="noStrike" kern="1200" cap="none" spc="0" normalizeH="0" baseline="0" noProof="0" dirty="0" err="1">
                <a:ln>
                  <a:noFill/>
                </a:ln>
                <a:solidFill>
                  <a:srgbClr val="000000"/>
                </a:solidFill>
                <a:effectLst/>
                <a:uLnTx/>
                <a:uFillTx/>
                <a:latin typeface="+mn-lt"/>
                <a:ea typeface="+mn-ea"/>
                <a:cs typeface="+mn-cs"/>
              </a:rPr>
              <a:t>dolor</a:t>
            </a:r>
            <a:r>
              <a:rPr kumimoji="0" lang="en-GB" sz="1000" b="0" i="0" u="none" strike="noStrike" kern="1200" cap="none" spc="0" normalizeH="0" baseline="0" noProof="0" dirty="0">
                <a:ln>
                  <a:noFill/>
                </a:ln>
                <a:solidFill>
                  <a:srgbClr val="000000"/>
                </a:solidFill>
                <a:effectLst/>
                <a:uLnTx/>
                <a:uFillTx/>
                <a:latin typeface="+mn-lt"/>
                <a:ea typeface="+mn-ea"/>
                <a:cs typeface="+mn-cs"/>
              </a:rPr>
              <a:t> si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me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consectetur</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dipiscing</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elit</a:t>
            </a:r>
            <a:r>
              <a:rPr kumimoji="0" lang="en-GB" sz="1000" b="0" i="0" u="none" strike="noStrike" kern="1200" cap="none" spc="0" normalizeH="0" baseline="0" noProof="0" dirty="0">
                <a:ln>
                  <a:noFill/>
                </a:ln>
                <a:solidFill>
                  <a:srgbClr val="000000"/>
                </a:solidFill>
                <a:effectLst/>
                <a:uLnTx/>
                <a:uFillTx/>
                <a:latin typeface="+mn-lt"/>
                <a:ea typeface="+mn-ea"/>
                <a:cs typeface="+mn-cs"/>
              </a:rPr>
              <a:t>. Integer </a:t>
            </a:r>
            <a:r>
              <a:rPr kumimoji="0" lang="en-GB" sz="1000" b="0" i="0" u="none" strike="noStrike" kern="1200" cap="none" spc="0" normalizeH="0" baseline="0" noProof="0" dirty="0" err="1">
                <a:ln>
                  <a:noFill/>
                </a:ln>
                <a:solidFill>
                  <a:srgbClr val="000000"/>
                </a:solidFill>
                <a:effectLst/>
                <a:uLnTx/>
                <a:uFillTx/>
                <a:latin typeface="+mn-lt"/>
                <a:ea typeface="+mn-ea"/>
                <a:cs typeface="+mn-cs"/>
              </a:rPr>
              <a:t>nec</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odio</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dirty="0">
                <a:ln>
                  <a:noFill/>
                </a:ln>
                <a:solidFill>
                  <a:srgbClr val="000000"/>
                </a:solidFill>
                <a:effectLst/>
                <a:uLnTx/>
                <a:uFillTx/>
                <a:latin typeface="+mn-lt"/>
                <a:ea typeface="+mn-ea"/>
                <a:cs typeface="+mn-cs"/>
              </a:rPr>
              <a:t> libero.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d</a:t>
            </a:r>
            <a:r>
              <a:rPr kumimoji="0" lang="en-GB" sz="1000" b="0" i="0" u="none" strike="noStrike" kern="1200" cap="none" spc="0" normalizeH="0" baseline="0" noProof="0" dirty="0">
                <a:ln>
                  <a:noFill/>
                </a:ln>
                <a:solidFill>
                  <a:srgbClr val="000000"/>
                </a:solidFill>
                <a:effectLst/>
                <a:uLnTx/>
                <a:uFillTx/>
                <a:latin typeface="+mn-lt"/>
                <a:ea typeface="+mn-ea"/>
                <a:cs typeface="+mn-cs"/>
              </a:rPr>
              <a:t> cursus ante </a:t>
            </a:r>
            <a:r>
              <a:rPr kumimoji="0" lang="en-GB" sz="1000" b="0" i="0" u="none" strike="noStrike" kern="1200" cap="none" spc="0" normalizeH="0" baseline="0" noProof="0" dirty="0" err="1">
                <a:ln>
                  <a:noFill/>
                </a:ln>
                <a:solidFill>
                  <a:srgbClr val="000000"/>
                </a:solidFill>
                <a:effectLst/>
                <a:uLnTx/>
                <a:uFillTx/>
                <a:latin typeface="+mn-lt"/>
                <a:ea typeface="+mn-ea"/>
                <a:cs typeface="+mn-cs"/>
              </a:rPr>
              <a:t>dapibus</a:t>
            </a:r>
            <a:r>
              <a:rPr kumimoji="0" lang="en-GB" sz="1000" b="0" i="0" u="none" strike="noStrike" kern="1200" cap="none" spc="0" normalizeH="0" baseline="0" noProof="0" dirty="0">
                <a:ln>
                  <a:noFill/>
                </a:ln>
                <a:solidFill>
                  <a:srgbClr val="000000"/>
                </a:solidFill>
                <a:effectLst/>
                <a:uLnTx/>
                <a:uFillTx/>
                <a:latin typeface="+mn-lt"/>
                <a:ea typeface="+mn-ea"/>
                <a:cs typeface="+mn-cs"/>
              </a:rPr>
              <a:t> diam.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d</a:t>
            </a:r>
            <a:r>
              <a:rPr kumimoji="0" lang="en-GB" sz="1000" b="0" i="0" u="none" strike="noStrike" kern="1200" cap="none" spc="0" normalizeH="0" baseline="0" noProof="0" dirty="0">
                <a:ln>
                  <a:noFill/>
                </a:ln>
                <a:solidFill>
                  <a:srgbClr val="000000"/>
                </a:solidFill>
                <a:effectLst/>
                <a:uLnTx/>
                <a:uFillTx/>
                <a:latin typeface="+mn-lt"/>
                <a:ea typeface="+mn-ea"/>
                <a:cs typeface="+mn-cs"/>
              </a:rPr>
              <a:t> nisi. </a:t>
            </a:r>
            <a:r>
              <a:rPr kumimoji="0" lang="en-GB" sz="1000" b="0" i="0" u="none" strike="noStrike" kern="1200" cap="none" spc="0" normalizeH="0" baseline="0" noProof="0" dirty="0" err="1">
                <a:ln>
                  <a:noFill/>
                </a:ln>
                <a:solidFill>
                  <a:srgbClr val="000000"/>
                </a:solidFill>
                <a:effectLst/>
                <a:uLnTx/>
                <a:uFillTx/>
                <a:latin typeface="+mn-lt"/>
                <a:ea typeface="+mn-ea"/>
                <a:cs typeface="+mn-cs"/>
              </a:rPr>
              <a:t>Nulla</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qui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m</a:t>
            </a:r>
            <a:r>
              <a:rPr kumimoji="0" lang="en-GB" sz="1000" b="0" i="0" u="none" strike="noStrike" kern="1200" cap="none" spc="0" normalizeH="0" baseline="0" noProof="0" dirty="0">
                <a:ln>
                  <a:noFill/>
                </a:ln>
                <a:solidFill>
                  <a:srgbClr val="000000"/>
                </a:solidFill>
                <a:effectLst/>
                <a:uLnTx/>
                <a:uFillTx/>
                <a:latin typeface="+mn-lt"/>
                <a:ea typeface="+mn-ea"/>
                <a:cs typeface="+mn-cs"/>
              </a:rPr>
              <a:t>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nibh</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imperdiet</a:t>
            </a:r>
            <a:r>
              <a:rPr kumimoji="0" lang="en-GB" sz="1000" b="0" i="0" u="none" strike="noStrike" kern="1200" cap="none" spc="0" normalizeH="0" baseline="0" noProof="0" dirty="0">
                <a:ln>
                  <a:noFill/>
                </a:ln>
                <a:solidFill>
                  <a:srgbClr val="000000"/>
                </a:solidFill>
                <a:effectLst/>
                <a:uLnTx/>
                <a:uFillTx/>
                <a:latin typeface="+mn-lt"/>
                <a:ea typeface="+mn-ea"/>
                <a:cs typeface="+mn-cs"/>
              </a:rPr>
              <a:t>. Duis </a:t>
            </a:r>
            <a:r>
              <a:rPr kumimoji="0" lang="en-GB" sz="1000" b="0" i="0" u="none" strike="noStrike" kern="1200" cap="none" spc="0" normalizeH="0" baseline="0" noProof="0" dirty="0" err="1">
                <a:ln>
                  <a:noFill/>
                </a:ln>
                <a:solidFill>
                  <a:srgbClr val="000000"/>
                </a:solidFill>
                <a:effectLst/>
                <a:uLnTx/>
                <a:uFillTx/>
                <a:latin typeface="+mn-lt"/>
                <a:ea typeface="+mn-ea"/>
                <a:cs typeface="+mn-cs"/>
              </a:rPr>
              <a:t>sagittis</a:t>
            </a:r>
            <a:r>
              <a:rPr kumimoji="0" lang="en-GB" sz="1000" b="0" i="0" u="none" strike="noStrike" kern="1200" cap="none" spc="0" normalizeH="0" baseline="0" noProof="0" dirty="0">
                <a:ln>
                  <a:noFill/>
                </a:ln>
                <a:solidFill>
                  <a:srgbClr val="000000"/>
                </a:solidFill>
                <a:effectLst/>
                <a:uLnTx/>
                <a:uFillTx/>
                <a:latin typeface="+mn-lt"/>
                <a:ea typeface="+mn-ea"/>
                <a:cs typeface="+mn-cs"/>
              </a:rPr>
              <a:t> ipsum. </a:t>
            </a:r>
            <a:r>
              <a:rPr kumimoji="0" lang="en-GB"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mauri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Fusce</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nec</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tellu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d</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GB" sz="1000" b="0" i="0" u="none" strike="noStrike" kern="1200" cap="none" spc="0" normalizeH="0" baseline="0" noProof="0" dirty="0">
                <a:ln>
                  <a:noFill/>
                </a:ln>
                <a:solidFill>
                  <a:srgbClr val="000000"/>
                </a:solidFill>
                <a:effectLst/>
                <a:uLnTx/>
                <a:uFillTx/>
                <a:latin typeface="+mn-lt"/>
                <a:ea typeface="+mn-ea"/>
                <a:cs typeface="+mn-cs"/>
              </a:rPr>
              <a:t> semper porta. </a:t>
            </a:r>
            <a:r>
              <a:rPr kumimoji="0" lang="en-GB" sz="1000" b="0" i="0" u="none" strike="noStrike" kern="1200" cap="none" spc="0" normalizeH="0" baseline="0" noProof="0" dirty="0" err="1">
                <a:ln>
                  <a:noFill/>
                </a:ln>
                <a:solidFill>
                  <a:srgbClr val="000000"/>
                </a:solidFill>
                <a:effectLst/>
                <a:uLnTx/>
                <a:uFillTx/>
                <a:latin typeface="+mn-lt"/>
                <a:ea typeface="+mn-ea"/>
                <a:cs typeface="+mn-cs"/>
              </a:rPr>
              <a:t>Mauri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massa</a:t>
            </a:r>
            <a:r>
              <a:rPr kumimoji="0" lang="en-GB" sz="1000" b="0" i="0" u="none" strike="noStrike" kern="1200" cap="none" spc="0" normalizeH="0" baseline="0" noProof="0" dirty="0">
                <a:ln>
                  <a:noFill/>
                </a:ln>
                <a:solidFill>
                  <a:srgbClr val="000000"/>
                </a:solidFill>
                <a:effectLst/>
                <a:uLnTx/>
                <a:uFillTx/>
                <a:latin typeface="+mn-lt"/>
                <a:ea typeface="+mn-ea"/>
                <a:cs typeface="+mn-cs"/>
              </a:rPr>
              <a:t>. Vestibulum lacinia </a:t>
            </a:r>
            <a:r>
              <a:rPr kumimoji="0" lang="en-GB" sz="1000" b="0" i="0" u="none" strike="noStrike" kern="1200" cap="none" spc="0" normalizeH="0" baseline="0" noProof="0" dirty="0" err="1">
                <a:ln>
                  <a:noFill/>
                </a:ln>
                <a:solidFill>
                  <a:srgbClr val="000000"/>
                </a:solidFill>
                <a:effectLst/>
                <a:uLnTx/>
                <a:uFillTx/>
                <a:latin typeface="+mn-lt"/>
                <a:ea typeface="+mn-ea"/>
                <a:cs typeface="+mn-cs"/>
              </a:rPr>
              <a:t>arcu</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ege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nulla</a:t>
            </a:r>
            <a:r>
              <a:rPr kumimoji="0" lang="en-GB" sz="1000" b="0" i="0" u="none" strike="noStrike" kern="1200" cap="none" spc="0" normalizeH="0" baseline="0" noProof="0" dirty="0">
                <a:ln>
                  <a:noFill/>
                </a:ln>
                <a:solidFill>
                  <a:srgbClr val="000000"/>
                </a:solidFill>
                <a:effectLst/>
                <a:uLnTx/>
                <a:uFillTx/>
                <a:latin typeface="+mn-lt"/>
                <a:ea typeface="+mn-ea"/>
                <a:cs typeface="+mn-cs"/>
              </a:rPr>
              <a:t>. Class </a:t>
            </a:r>
            <a:r>
              <a:rPr kumimoji="0" lang="en-GB" sz="1000" b="0" i="0" u="none" strike="noStrike" kern="1200" cap="none" spc="0" normalizeH="0" baseline="0" noProof="0" dirty="0" err="1">
                <a:ln>
                  <a:noFill/>
                </a:ln>
                <a:solidFill>
                  <a:srgbClr val="000000"/>
                </a:solidFill>
                <a:effectLst/>
                <a:uLnTx/>
                <a:uFillTx/>
                <a:latin typeface="+mn-lt"/>
                <a:ea typeface="+mn-ea"/>
                <a:cs typeface="+mn-cs"/>
              </a:rPr>
              <a:t>apten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taciti</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sociosqu</a:t>
            </a:r>
            <a:r>
              <a:rPr kumimoji="0" lang="en-GB" sz="1000" b="0" i="0" u="none" strike="noStrike" kern="1200" cap="none" spc="0" normalizeH="0" baseline="0" noProof="0" dirty="0">
                <a:ln>
                  <a:noFill/>
                </a:ln>
                <a:solidFill>
                  <a:srgbClr val="000000"/>
                </a:solidFill>
                <a:effectLst/>
                <a:uLnTx/>
                <a:uFillTx/>
                <a:latin typeface="+mn-lt"/>
                <a:ea typeface="+mn-ea"/>
                <a:cs typeface="+mn-cs"/>
              </a:rPr>
              <a:t> ad </a:t>
            </a:r>
            <a:r>
              <a:rPr kumimoji="0" lang="en-GB" sz="1000" b="0" i="0" u="none" strike="noStrike" kern="1200" cap="none" spc="0" normalizeH="0" baseline="0" noProof="0" dirty="0" err="1">
                <a:ln>
                  <a:noFill/>
                </a:ln>
                <a:solidFill>
                  <a:srgbClr val="000000"/>
                </a:solidFill>
                <a:effectLst/>
                <a:uLnTx/>
                <a:uFillTx/>
                <a:latin typeface="+mn-lt"/>
                <a:ea typeface="+mn-ea"/>
                <a:cs typeface="+mn-cs"/>
              </a:rPr>
              <a:t>litora</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torquent</a:t>
            </a:r>
            <a:r>
              <a:rPr kumimoji="0" lang="en-GB" sz="1000" b="0" i="0" u="none" strike="noStrike" kern="1200" cap="none" spc="0" normalizeH="0" baseline="0" noProof="0" dirty="0">
                <a:ln>
                  <a:noFill/>
                </a:ln>
                <a:solidFill>
                  <a:srgbClr val="000000"/>
                </a:solidFill>
                <a:effectLst/>
                <a:uLnTx/>
                <a:uFillTx/>
                <a:latin typeface="+mn-lt"/>
                <a:ea typeface="+mn-ea"/>
                <a:cs typeface="+mn-cs"/>
              </a:rPr>
              <a:t> per </a:t>
            </a:r>
            <a:r>
              <a:rPr kumimoji="0" lang="en-GB" sz="1000" b="0" i="0" u="none" strike="noStrike" kern="1200" cap="none" spc="0" normalizeH="0" baseline="0" noProof="0" dirty="0" err="1">
                <a:ln>
                  <a:noFill/>
                </a:ln>
                <a:solidFill>
                  <a:srgbClr val="000000"/>
                </a:solidFill>
                <a:effectLst/>
                <a:uLnTx/>
                <a:uFillTx/>
                <a:latin typeface="+mn-lt"/>
                <a:ea typeface="+mn-ea"/>
                <a:cs typeface="+mn-cs"/>
              </a:rPr>
              <a:t>conubia</a:t>
            </a:r>
            <a:r>
              <a:rPr kumimoji="0" lang="en-GB" sz="1000" b="0" i="0" u="none" strike="noStrike" kern="1200" cap="none" spc="0" normalizeH="0" baseline="0" noProof="0" dirty="0">
                <a:ln>
                  <a:noFill/>
                </a:ln>
                <a:solidFill>
                  <a:srgbClr val="000000"/>
                </a:solidFill>
                <a:effectLst/>
                <a:uLnTx/>
                <a:uFillTx/>
                <a:latin typeface="+mn-lt"/>
                <a:ea typeface="+mn-ea"/>
                <a:cs typeface="+mn-cs"/>
              </a:rPr>
              <a:t> nostra, per </a:t>
            </a:r>
            <a:r>
              <a:rPr kumimoji="0" lang="en-GB" sz="1000" b="0" i="0" u="none" strike="noStrike" kern="1200" cap="none" spc="0" normalizeH="0" baseline="0" noProof="0" dirty="0" err="1">
                <a:ln>
                  <a:noFill/>
                </a:ln>
                <a:solidFill>
                  <a:srgbClr val="000000"/>
                </a:solidFill>
                <a:effectLst/>
                <a:uLnTx/>
                <a:uFillTx/>
                <a:latin typeface="+mn-lt"/>
                <a:ea typeface="+mn-ea"/>
                <a:cs typeface="+mn-cs"/>
              </a:rPr>
              <a:t>incepto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himenaeo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Curabitur</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sodales</a:t>
            </a:r>
            <a:r>
              <a:rPr kumimoji="0" lang="en-GB" sz="1000" b="0" i="0" u="none" strike="noStrike" kern="1200" cap="none" spc="0" normalizeH="0" baseline="0" noProof="0" dirty="0">
                <a:ln>
                  <a:noFill/>
                </a:ln>
                <a:solidFill>
                  <a:srgbClr val="000000"/>
                </a:solidFill>
                <a:effectLst/>
                <a:uLnTx/>
                <a:uFillTx/>
                <a:latin typeface="+mn-lt"/>
                <a:ea typeface="+mn-ea"/>
                <a:cs typeface="+mn-cs"/>
              </a:rPr>
              <a:t> ligula in libero.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d</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dignissim</a:t>
            </a:r>
            <a:r>
              <a:rPr kumimoji="0" lang="en-GB" sz="1000" b="0" i="0" u="none" strike="noStrike" kern="1200" cap="none" spc="0" normalizeH="0" baseline="0" noProof="0" dirty="0">
                <a:ln>
                  <a:noFill/>
                </a:ln>
                <a:solidFill>
                  <a:srgbClr val="000000"/>
                </a:solidFill>
                <a:effectLst/>
                <a:uLnTx/>
                <a:uFillTx/>
                <a:latin typeface="+mn-lt"/>
                <a:ea typeface="+mn-ea"/>
                <a:cs typeface="+mn-cs"/>
              </a:rPr>
              <a:t> lacinia. </a:t>
            </a:r>
          </a:p>
          <a:p>
            <a:pPr marL="0" marR="0" lvl="0" indent="0" algn="l" defTabSz="914400" rtl="0" eaLnBrk="1" fontAlgn="auto" latinLnBrk="0" hangingPunct="1">
              <a:lnSpc>
                <a:spcPct val="130000"/>
              </a:lnSpc>
              <a:spcBef>
                <a:spcPts val="0"/>
              </a:spcBef>
              <a:spcAft>
                <a:spcPts val="120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mn-lt"/>
                <a:ea typeface="+mn-ea"/>
                <a:cs typeface="+mn-cs"/>
              </a:rPr>
              <a:t>Vestibulum ante ipsum </a:t>
            </a:r>
            <a:r>
              <a:rPr kumimoji="0" lang="en-GB" sz="1000" b="0" i="0" u="none" strike="noStrike" kern="1200" cap="none" spc="0" normalizeH="0" baseline="0" noProof="0" dirty="0" err="1">
                <a:ln>
                  <a:noFill/>
                </a:ln>
                <a:solidFill>
                  <a:srgbClr val="000000"/>
                </a:solidFill>
                <a:effectLst/>
                <a:uLnTx/>
                <a:uFillTx/>
                <a:latin typeface="+mn-lt"/>
                <a:ea typeface="+mn-ea"/>
                <a:cs typeface="+mn-cs"/>
              </a:rPr>
              <a:t>primis</a:t>
            </a:r>
            <a:r>
              <a:rPr kumimoji="0" lang="en-GB" sz="1000" b="0" i="0" u="none" strike="noStrike" kern="1200" cap="none" spc="0" normalizeH="0" baseline="0" noProof="0" dirty="0">
                <a:ln>
                  <a:noFill/>
                </a:ln>
                <a:solidFill>
                  <a:srgbClr val="000000"/>
                </a:solidFill>
                <a:effectLst/>
                <a:uLnTx/>
                <a:uFillTx/>
                <a:latin typeface="+mn-lt"/>
                <a:ea typeface="+mn-ea"/>
                <a:cs typeface="+mn-cs"/>
              </a:rPr>
              <a:t> in </a:t>
            </a:r>
            <a:r>
              <a:rPr kumimoji="0" lang="en-GB" sz="1000" b="0" i="0" u="none" strike="noStrike" kern="1200" cap="none" spc="0" normalizeH="0" baseline="0" noProof="0" dirty="0" err="1">
                <a:ln>
                  <a:noFill/>
                </a:ln>
                <a:solidFill>
                  <a:srgbClr val="000000"/>
                </a:solidFill>
                <a:effectLst/>
                <a:uLnTx/>
                <a:uFillTx/>
                <a:latin typeface="+mn-lt"/>
                <a:ea typeface="+mn-ea"/>
                <a:cs typeface="+mn-cs"/>
              </a:rPr>
              <a:t>faucibu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orci</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luctus</a:t>
            </a:r>
            <a:r>
              <a:rPr kumimoji="0" lang="en-GB" sz="1000" b="0" i="0" u="none" strike="noStrike" kern="1200" cap="none" spc="0" normalizeH="0" baseline="0" noProof="0" dirty="0">
                <a:ln>
                  <a:noFill/>
                </a:ln>
                <a:solidFill>
                  <a:srgbClr val="000000"/>
                </a:solidFill>
                <a:effectLst/>
                <a:uLnTx/>
                <a:uFillTx/>
                <a:latin typeface="+mn-lt"/>
                <a:ea typeface="+mn-ea"/>
                <a:cs typeface="+mn-cs"/>
              </a:rPr>
              <a:t> et </a:t>
            </a:r>
            <a:r>
              <a:rPr kumimoji="0" lang="en-GB" sz="1000" b="0" i="0" u="none" strike="noStrike" kern="1200" cap="none" spc="0" normalizeH="0" baseline="0" noProof="0" dirty="0" err="1">
                <a:ln>
                  <a:noFill/>
                </a:ln>
                <a:solidFill>
                  <a:srgbClr val="000000"/>
                </a:solidFill>
                <a:effectLst/>
                <a:uLnTx/>
                <a:uFillTx/>
                <a:latin typeface="+mn-lt"/>
                <a:ea typeface="+mn-ea"/>
                <a:cs typeface="+mn-cs"/>
              </a:rPr>
              <a:t>ultrice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posuere</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cubilia</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Curae</a:t>
            </a:r>
            <a:r>
              <a:rPr kumimoji="0" lang="en-GB" sz="1000" b="0" i="0" u="none" strike="noStrike" kern="1200" cap="none" spc="0" normalizeH="0" baseline="0" noProof="0" dirty="0">
                <a:ln>
                  <a:noFill/>
                </a:ln>
                <a:solidFill>
                  <a:srgbClr val="000000"/>
                </a:solidFill>
                <a:effectLst/>
                <a:uLnTx/>
                <a:uFillTx/>
                <a:latin typeface="+mn-lt"/>
                <a:ea typeface="+mn-ea"/>
                <a:cs typeface="+mn-cs"/>
              </a:rPr>
              <a:t>; Morbi lacinia </a:t>
            </a:r>
            <a:r>
              <a:rPr kumimoji="0" lang="en-GB" sz="1000" b="0" i="0" u="none" strike="noStrike" kern="1200" cap="none" spc="0" normalizeH="0" baseline="0" noProof="0" dirty="0" err="1">
                <a:ln>
                  <a:noFill/>
                </a:ln>
                <a:solidFill>
                  <a:srgbClr val="000000"/>
                </a:solidFill>
                <a:effectLst/>
                <a:uLnTx/>
                <a:uFillTx/>
                <a:latin typeface="+mn-lt"/>
                <a:ea typeface="+mn-ea"/>
                <a:cs typeface="+mn-cs"/>
              </a:rPr>
              <a:t>molestie</a:t>
            </a:r>
            <a:r>
              <a:rPr kumimoji="0" lang="en-GB" sz="1000" b="0" i="0" u="none" strike="noStrike" kern="1200" cap="none" spc="0" normalizeH="0" baseline="0" noProof="0" dirty="0">
                <a:ln>
                  <a:noFill/>
                </a:ln>
                <a:solidFill>
                  <a:srgbClr val="000000"/>
                </a:solidFill>
                <a:effectLst/>
                <a:uLnTx/>
                <a:uFillTx/>
                <a:latin typeface="+mn-lt"/>
                <a:ea typeface="+mn-ea"/>
                <a:cs typeface="+mn-cs"/>
              </a:rPr>
              <a:t> dui. </a:t>
            </a:r>
            <a:r>
              <a:rPr kumimoji="0" lang="en-GB" sz="1000" b="0" i="0" u="none" strike="noStrike" kern="1200" cap="none" spc="0" normalizeH="0" baseline="0" noProof="0" dirty="0" err="1">
                <a:ln>
                  <a:noFill/>
                </a:ln>
                <a:solidFill>
                  <a:srgbClr val="000000"/>
                </a:solidFill>
                <a:effectLst/>
                <a:uLnTx/>
                <a:uFillTx/>
                <a:latin typeface="+mn-lt"/>
                <a:ea typeface="+mn-ea"/>
                <a:cs typeface="+mn-cs"/>
              </a:rPr>
              <a:t>Praesen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blandi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dolor</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Sed</a:t>
            </a:r>
            <a:r>
              <a:rPr kumimoji="0" lang="en-GB" sz="1000" b="0" i="0" u="none" strike="noStrike" kern="1200" cap="none" spc="0" normalizeH="0" baseline="0" noProof="0" dirty="0">
                <a:ln>
                  <a:noFill/>
                </a:ln>
                <a:solidFill>
                  <a:srgbClr val="000000"/>
                </a:solidFill>
                <a:effectLst/>
                <a:uLnTx/>
                <a:uFillTx/>
                <a:latin typeface="+mn-lt"/>
                <a:ea typeface="+mn-ea"/>
                <a:cs typeface="+mn-cs"/>
              </a:rPr>
              <a:t> non </a:t>
            </a:r>
            <a:r>
              <a:rPr kumimoji="0" lang="en-GB" sz="1000" b="0" i="0" u="none" strike="noStrike" kern="1200" cap="none" spc="0" normalizeH="0" baseline="0" noProof="0" dirty="0" err="1">
                <a:ln>
                  <a:noFill/>
                </a:ln>
                <a:solidFill>
                  <a:srgbClr val="000000"/>
                </a:solidFill>
                <a:effectLst/>
                <a:uLnTx/>
                <a:uFillTx/>
                <a:latin typeface="+mn-lt"/>
                <a:ea typeface="+mn-ea"/>
                <a:cs typeface="+mn-cs"/>
              </a:rPr>
              <a:t>quam</a:t>
            </a:r>
            <a:r>
              <a:rPr kumimoji="0" lang="en-GB" sz="1000" b="0" i="0" u="none" strike="noStrike" kern="1200" cap="none" spc="0" normalizeH="0" baseline="0" noProof="0" dirty="0">
                <a:ln>
                  <a:noFill/>
                </a:ln>
                <a:solidFill>
                  <a:srgbClr val="000000"/>
                </a:solidFill>
                <a:effectLst/>
                <a:uLnTx/>
                <a:uFillTx/>
                <a:latin typeface="+mn-lt"/>
                <a:ea typeface="+mn-ea"/>
                <a:cs typeface="+mn-cs"/>
              </a:rPr>
              <a:t>. In </a:t>
            </a:r>
            <a:r>
              <a:rPr kumimoji="0" lang="en-GB" sz="1000" b="0" i="0" u="none" strike="noStrike" kern="1200" cap="none" spc="0" normalizeH="0" baseline="0" noProof="0" dirty="0" err="1">
                <a:ln>
                  <a:noFill/>
                </a:ln>
                <a:solidFill>
                  <a:srgbClr val="000000"/>
                </a:solidFill>
                <a:effectLst/>
                <a:uLnTx/>
                <a:uFillTx/>
                <a:latin typeface="+mn-lt"/>
                <a:ea typeface="+mn-ea"/>
                <a:cs typeface="+mn-cs"/>
              </a:rPr>
              <a:t>vel</a:t>
            </a:r>
            <a:r>
              <a:rPr kumimoji="0" lang="en-GB" sz="1000" b="0" i="0" u="none" strike="noStrike" kern="1200" cap="none" spc="0" normalizeH="0" baseline="0" noProof="0" dirty="0">
                <a:ln>
                  <a:noFill/>
                </a:ln>
                <a:solidFill>
                  <a:srgbClr val="000000"/>
                </a:solidFill>
                <a:effectLst/>
                <a:uLnTx/>
                <a:uFillTx/>
                <a:latin typeface="+mn-lt"/>
                <a:ea typeface="+mn-ea"/>
                <a:cs typeface="+mn-cs"/>
              </a:rPr>
              <a:t> mi si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me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congue</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elementum</a:t>
            </a:r>
            <a:r>
              <a:rPr kumimoji="0" lang="en-GB" sz="1000" b="0" i="0" u="none" strike="noStrike" kern="1200" cap="none" spc="0" normalizeH="0" baseline="0" noProof="0" dirty="0">
                <a:ln>
                  <a:noFill/>
                </a:ln>
                <a:solidFill>
                  <a:srgbClr val="000000"/>
                </a:solidFill>
                <a:effectLst/>
                <a:uLnTx/>
                <a:uFillTx/>
                <a:latin typeface="+mn-lt"/>
                <a:ea typeface="+mn-ea"/>
                <a:cs typeface="+mn-cs"/>
              </a:rPr>
              <a:t>. Morbi in ipsum si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me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pede</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facilisi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laoreet</a:t>
            </a:r>
            <a:r>
              <a:rPr kumimoji="0" lang="en-GB" sz="1000" b="0" i="0" u="none" strike="noStrike" kern="1200" cap="none" spc="0" normalizeH="0" baseline="0" noProof="0" dirty="0">
                <a:ln>
                  <a:noFill/>
                </a:ln>
                <a:solidFill>
                  <a:srgbClr val="000000"/>
                </a:solidFill>
                <a:effectLst/>
                <a:uLnTx/>
                <a:uFillTx/>
                <a:latin typeface="+mn-lt"/>
                <a:ea typeface="+mn-ea"/>
                <a:cs typeface="+mn-cs"/>
              </a:rPr>
              <a:t>. Donec </a:t>
            </a:r>
            <a:r>
              <a:rPr kumimoji="0" lang="en-GB" sz="1000" b="0" i="0" u="none" strike="noStrike" kern="1200" cap="none" spc="0" normalizeH="0" baseline="0" noProof="0" dirty="0" err="1">
                <a:ln>
                  <a:noFill/>
                </a:ln>
                <a:solidFill>
                  <a:srgbClr val="000000"/>
                </a:solidFill>
                <a:effectLst/>
                <a:uLnTx/>
                <a:uFillTx/>
                <a:latin typeface="+mn-lt"/>
                <a:ea typeface="+mn-ea"/>
                <a:cs typeface="+mn-cs"/>
              </a:rPr>
              <a:t>lacus</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nunc</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viverra</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nec</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blandit</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vel</a:t>
            </a:r>
            <a:r>
              <a:rPr kumimoji="0" lang="en-GB" sz="1000" b="0" i="0" u="none" strike="noStrike" kern="1200" cap="none" spc="0" normalizeH="0" baseline="0" noProof="0" dirty="0">
                <a:ln>
                  <a:noFill/>
                </a:ln>
                <a:solidFill>
                  <a:srgbClr val="000000"/>
                </a:solidFill>
                <a:effectLst/>
                <a:uLnTx/>
                <a:uFillTx/>
                <a:latin typeface="+mn-lt"/>
                <a:ea typeface="+mn-ea"/>
                <a:cs typeface="+mn-cs"/>
              </a:rPr>
              <a:t>, </a:t>
            </a:r>
            <a:r>
              <a:rPr kumimoji="0" lang="en-GB" sz="1000" b="0" i="0" u="none" strike="noStrike" kern="1200" cap="none" spc="0" normalizeH="0" baseline="0" noProof="0" dirty="0" err="1">
                <a:ln>
                  <a:noFill/>
                </a:ln>
                <a:solidFill>
                  <a:srgbClr val="000000"/>
                </a:solidFill>
                <a:effectLst/>
                <a:uLnTx/>
                <a:uFillTx/>
                <a:latin typeface="+mn-lt"/>
                <a:ea typeface="+mn-ea"/>
                <a:cs typeface="+mn-cs"/>
              </a:rPr>
              <a:t>egestas</a:t>
            </a:r>
            <a:r>
              <a:rPr kumimoji="0" lang="en-GB" sz="1000" b="0" i="0" u="none" strike="noStrike" kern="1200" cap="none" spc="0" normalizeH="0" baseline="0" noProof="0" dirty="0">
                <a:ln>
                  <a:noFill/>
                </a:ln>
                <a:solidFill>
                  <a:srgbClr val="000000"/>
                </a:solidFill>
                <a:effectLst/>
                <a:uLnTx/>
                <a:uFillTx/>
                <a:latin typeface="+mn-lt"/>
                <a:ea typeface="+mn-ea"/>
                <a:cs typeface="+mn-cs"/>
              </a:rPr>
              <a:t> et, </a:t>
            </a:r>
            <a:r>
              <a:rPr kumimoji="0" lang="en-GB" sz="1000" b="0" i="0" u="none" strike="noStrike" kern="1200" cap="none" spc="0" normalizeH="0" baseline="0" noProof="0" dirty="0" err="1">
                <a:ln>
                  <a:noFill/>
                </a:ln>
                <a:solidFill>
                  <a:srgbClr val="000000"/>
                </a:solidFill>
                <a:effectLst/>
                <a:uLnTx/>
                <a:uFillTx/>
                <a:latin typeface="+mn-lt"/>
                <a:ea typeface="+mn-ea"/>
                <a:cs typeface="+mn-cs"/>
              </a:rPr>
              <a:t>augue</a:t>
            </a:r>
            <a:r>
              <a:rPr kumimoji="0" lang="en-GB" sz="1000" b="0" i="0" u="none" strike="noStrike" kern="1200" cap="none" spc="0" normalizeH="0" baseline="0" noProof="0" dirty="0">
                <a:ln>
                  <a:noFill/>
                </a:ln>
                <a:solidFill>
                  <a:srgbClr val="000000"/>
                </a:solidFill>
                <a:effectLst/>
                <a:uLnTx/>
                <a:uFillTx/>
                <a:latin typeface="+mn-lt"/>
                <a:ea typeface="+mn-ea"/>
                <a:cs typeface="+mn-cs"/>
              </a:rPr>
              <a:t>:</a:t>
            </a:r>
          </a:p>
        </p:txBody>
      </p:sp>
      <p:cxnSp>
        <p:nvCxnSpPr>
          <p:cNvPr id="23" name="Straight Connector 22">
            <a:extLst>
              <a:ext uri="{FF2B5EF4-FFF2-40B4-BE49-F238E27FC236}">
                <a16:creationId xmlns:a16="http://schemas.microsoft.com/office/drawing/2014/main" id="{2B5C5702-F260-B64F-BD32-497D5818151F}"/>
              </a:ext>
            </a:extLst>
          </p:cNvPr>
          <p:cNvCxnSpPr/>
          <p:nvPr userDrawn="1"/>
        </p:nvCxnSpPr>
        <p:spPr>
          <a:xfrm>
            <a:off x="9036424" y="1532965"/>
            <a:ext cx="0" cy="4572000"/>
          </a:xfrm>
          <a:prstGeom prst="line">
            <a:avLst/>
          </a:prstGeom>
          <a:ln>
            <a:solidFill>
              <a:srgbClr val="86BC2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886733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67E562D-2120-4611-B06C-BC52E48144EB}"/>
              </a:ext>
            </a:extLst>
          </p:cNvPr>
          <p:cNvSpPr/>
          <p:nvPr userDrawn="1"/>
        </p:nvSpPr>
        <p:spPr bwMode="gray">
          <a:xfrm>
            <a:off x="0" y="6255657"/>
            <a:ext cx="3135086" cy="602343"/>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noProof="0" dirty="0">
              <a:solidFill>
                <a:schemeClr val="bg1"/>
              </a:solidFill>
            </a:endParaRPr>
          </a:p>
        </p:txBody>
      </p:sp>
      <p:sp>
        <p:nvSpPr>
          <p:cNvPr id="13" name="Title 11">
            <a:extLst>
              <a:ext uri="{FF2B5EF4-FFF2-40B4-BE49-F238E27FC236}">
                <a16:creationId xmlns:a16="http://schemas.microsoft.com/office/drawing/2014/main" id="{584186AD-9FD9-3D44-A4B1-EAFD91A62D30}"/>
              </a:ext>
            </a:extLst>
          </p:cNvPr>
          <p:cNvSpPr txBox="1">
            <a:spLocks/>
          </p:cNvSpPr>
          <p:nvPr userDrawn="1"/>
        </p:nvSpPr>
        <p:spPr bwMode="gray">
          <a:xfrm>
            <a:off x="914400" y="931646"/>
            <a:ext cx="5105400" cy="584200"/>
          </a:xfrm>
          <a:prstGeom prst="rect">
            <a:avLst/>
          </a:prstGeom>
        </p:spPr>
        <p:txBody>
          <a:bodyPr vert="horz" lIns="0" tIns="0" rIns="0" bIns="0" rtlCol="0" anchor="t" anchorCtr="0">
            <a:noAutofit/>
          </a:bodyPr>
          <a:lstStyle>
            <a:lvl1pPr algn="l" defTabSz="914400" rtl="0" eaLnBrk="1" latinLnBrk="0" hangingPunct="1">
              <a:spcBef>
                <a:spcPct val="0"/>
              </a:spcBef>
              <a:buNone/>
              <a:defRPr sz="3600" kern="1200">
                <a:solidFill>
                  <a:schemeClr val="tx1"/>
                </a:solidFill>
                <a:latin typeface="+mj-lt"/>
                <a:ea typeface="+mj-ea"/>
                <a:cs typeface="Calibri Light" panose="020F030202020403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a:ln>
                  <a:noFill/>
                </a:ln>
                <a:solidFill>
                  <a:sysClr val="windowText" lastClr="000000"/>
                </a:solidFill>
                <a:effectLst/>
                <a:uLnTx/>
                <a:uFillTx/>
                <a:latin typeface="Open Sans Light"/>
                <a:ea typeface="+mj-ea"/>
                <a:cs typeface="Calibri Light" panose="020F0302020204030204" pitchFamily="34" charset="0"/>
              </a:rPr>
              <a:t>Contents</a:t>
            </a:r>
          </a:p>
        </p:txBody>
      </p:sp>
      <p:pic>
        <p:nvPicPr>
          <p:cNvPr id="9" name="Picture 8">
            <a:extLst>
              <a:ext uri="{FF2B5EF4-FFF2-40B4-BE49-F238E27FC236}">
                <a16:creationId xmlns:a16="http://schemas.microsoft.com/office/drawing/2014/main" id="{F9178E44-A68A-4EF4-BD70-642A82F236F0}"/>
              </a:ext>
            </a:extLst>
          </p:cNvPr>
          <p:cNvPicPr>
            <a:picLocks noChangeAspect="1"/>
          </p:cNvPicPr>
          <p:nvPr userDrawn="1"/>
        </p:nvPicPr>
        <p:blipFill>
          <a:blip r:embed="rId2"/>
          <a:stretch>
            <a:fillRect/>
          </a:stretch>
        </p:blipFill>
        <p:spPr>
          <a:xfrm>
            <a:off x="0" y="3207658"/>
            <a:ext cx="4154892" cy="3650342"/>
          </a:xfrm>
          <a:prstGeom prst="rect">
            <a:avLst/>
          </a:prstGeom>
        </p:spPr>
      </p:pic>
    </p:spTree>
    <p:extLst>
      <p:ext uri="{BB962C8B-B14F-4D97-AF65-F5344CB8AC3E}">
        <p14:creationId xmlns:p14="http://schemas.microsoft.com/office/powerpoint/2010/main" val="889063335"/>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ta Migration: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340178"/>
            <a:ext cx="9144000" cy="691243"/>
          </a:xfrm>
          <a:prstGeom prst="rect">
            <a:avLst/>
          </a:prstGeom>
        </p:spPr>
        <p:txBody>
          <a:bodyPr vert="horz" lIns="0" tIns="0" rIns="0" bIns="0" rtlCol="0" anchor="ctr" anchorCtr="0">
            <a:noAutofit/>
          </a:bodyPr>
          <a:lstStyle>
            <a:lvl1pPr>
              <a:defRPr sz="24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noProof="0" dirty="0"/>
              <a:t>Your headline goes here when you’re ready</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1031421"/>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noProof="0" dirty="0"/>
              <a:t>2 lines running intro text. Morbi </a:t>
            </a:r>
            <a:r>
              <a:rPr lang="en-GB" noProof="0" dirty="0" err="1"/>
              <a:t>leo</a:t>
            </a:r>
            <a:r>
              <a:rPr lang="en-GB" noProof="0" dirty="0"/>
              <a:t> </a:t>
            </a:r>
            <a:r>
              <a:rPr lang="en-GB" noProof="0" dirty="0" err="1"/>
              <a:t>risus</a:t>
            </a:r>
            <a:r>
              <a:rPr lang="en-GB" noProof="0" dirty="0"/>
              <a:t>, porta ac </a:t>
            </a:r>
            <a:r>
              <a:rPr lang="en-GB" noProof="0" dirty="0" err="1"/>
              <a:t>consectetur</a:t>
            </a:r>
            <a:r>
              <a:rPr lang="en-GB" noProof="0" dirty="0"/>
              <a:t> ac, vestibulum at eros. Donec </a:t>
            </a:r>
            <a:r>
              <a:rPr lang="en-GB" noProof="0" dirty="0" err="1"/>
              <a:t>sed</a:t>
            </a:r>
            <a:r>
              <a:rPr lang="en-GB" noProof="0" dirty="0"/>
              <a:t> </a:t>
            </a:r>
            <a:r>
              <a:rPr lang="en-GB" noProof="0" dirty="0" err="1"/>
              <a:t>odio</a:t>
            </a:r>
            <a:r>
              <a:rPr lang="en-GB" noProof="0" dirty="0"/>
              <a:t> dui. </a:t>
            </a:r>
            <a:r>
              <a:rPr lang="en-GB" noProof="0" dirty="0" err="1"/>
              <a:t>Praesent</a:t>
            </a:r>
            <a:r>
              <a:rPr lang="en-GB" noProof="0" dirty="0"/>
              <a:t> </a:t>
            </a:r>
            <a:r>
              <a:rPr lang="en-GB" noProof="0" dirty="0" err="1"/>
              <a:t>commodo</a:t>
            </a:r>
            <a:r>
              <a:rPr lang="en-GB" noProof="0" dirty="0"/>
              <a:t> cursus magna, </a:t>
            </a:r>
            <a:r>
              <a:rPr lang="en-GB" noProof="0" dirty="0" err="1"/>
              <a:t>vel</a:t>
            </a:r>
            <a:r>
              <a:rPr lang="en-GB" noProof="0" dirty="0"/>
              <a:t> </a:t>
            </a:r>
            <a:r>
              <a:rPr lang="en-GB" noProof="0" dirty="0" err="1"/>
              <a:t>scelerisque</a:t>
            </a:r>
            <a:r>
              <a:rPr lang="en-GB" noProof="0" dirty="0"/>
              <a:t> </a:t>
            </a:r>
            <a:r>
              <a:rPr lang="en-GB" noProof="0" dirty="0" err="1"/>
              <a:t>nisl</a:t>
            </a:r>
            <a:r>
              <a:rPr lang="en-GB" noProof="0" dirty="0"/>
              <a:t> </a:t>
            </a:r>
            <a:r>
              <a:rPr lang="en-GB" noProof="0" dirty="0" err="1"/>
              <a:t>consectetur</a:t>
            </a:r>
            <a:r>
              <a:rPr lang="en-GB" noProof="0" dirty="0"/>
              <a:t> et. </a:t>
            </a:r>
            <a:r>
              <a:rPr lang="en-GB" noProof="0" dirty="0" err="1"/>
              <a:t>Sed</a:t>
            </a:r>
            <a:r>
              <a:rPr lang="en-GB" noProof="0" dirty="0"/>
              <a:t> </a:t>
            </a:r>
            <a:r>
              <a:rPr lang="en-GB" noProof="0" dirty="0" err="1"/>
              <a:t>posuere</a:t>
            </a:r>
            <a:r>
              <a:rPr lang="en-GB" noProof="0" dirty="0"/>
              <a:t> </a:t>
            </a:r>
            <a:r>
              <a:rPr lang="en-GB" noProof="0" dirty="0" err="1"/>
              <a:t>consectetur</a:t>
            </a:r>
            <a:r>
              <a:rPr lang="en-GB" noProof="0" dirty="0"/>
              <a:t> </a:t>
            </a:r>
            <a:r>
              <a:rPr lang="en-GB" noProof="0" dirty="0" err="1"/>
              <a:t>est</a:t>
            </a:r>
            <a:r>
              <a:rPr lang="en-GB" noProof="0" dirty="0"/>
              <a:t> at </a:t>
            </a:r>
            <a:r>
              <a:rPr lang="en-GB" noProof="0" dirty="0" err="1"/>
              <a:t>lobortis</a:t>
            </a:r>
            <a:r>
              <a:rPr lang="en-GB" noProof="0" dirty="0"/>
              <a:t>.</a:t>
            </a:r>
          </a:p>
        </p:txBody>
      </p:sp>
    </p:spTree>
    <p:extLst>
      <p:ext uri="{BB962C8B-B14F-4D97-AF65-F5344CB8AC3E}">
        <p14:creationId xmlns:p14="http://schemas.microsoft.com/office/powerpoint/2010/main" val="370589566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rogramme Management Leadership: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199" y="340178"/>
            <a:ext cx="9887889" cy="691243"/>
          </a:xfrm>
          <a:prstGeom prst="rect">
            <a:avLst/>
          </a:prstGeom>
        </p:spPr>
        <p:txBody>
          <a:bodyPr vert="horz" lIns="0" tIns="0" rIns="0" bIns="0" rtlCol="0" anchor="ctr" anchorCtr="0">
            <a:noAutofit/>
          </a:bodyPr>
          <a:lstStyle>
            <a:lvl1pPr>
              <a:defRPr sz="24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noProof="0" dirty="0"/>
              <a:t>Your headline goes here when you’re ready</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1031421"/>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noProof="0" dirty="0"/>
              <a:t>2 lines running intro text. Morbi </a:t>
            </a:r>
            <a:r>
              <a:rPr lang="en-GB" noProof="0" dirty="0" err="1"/>
              <a:t>leo</a:t>
            </a:r>
            <a:r>
              <a:rPr lang="en-GB" noProof="0" dirty="0"/>
              <a:t> </a:t>
            </a:r>
            <a:r>
              <a:rPr lang="en-GB" noProof="0" dirty="0" err="1"/>
              <a:t>risus</a:t>
            </a:r>
            <a:r>
              <a:rPr lang="en-GB" noProof="0" dirty="0"/>
              <a:t>, porta ac </a:t>
            </a:r>
            <a:r>
              <a:rPr lang="en-GB" noProof="0" dirty="0" err="1"/>
              <a:t>consectetur</a:t>
            </a:r>
            <a:r>
              <a:rPr lang="en-GB" noProof="0" dirty="0"/>
              <a:t> ac, vestibulum at eros. Donec </a:t>
            </a:r>
            <a:r>
              <a:rPr lang="en-GB" noProof="0" dirty="0" err="1"/>
              <a:t>sed</a:t>
            </a:r>
            <a:r>
              <a:rPr lang="en-GB" noProof="0" dirty="0"/>
              <a:t> </a:t>
            </a:r>
            <a:r>
              <a:rPr lang="en-GB" noProof="0" dirty="0" err="1"/>
              <a:t>odio</a:t>
            </a:r>
            <a:r>
              <a:rPr lang="en-GB" noProof="0" dirty="0"/>
              <a:t> dui. </a:t>
            </a:r>
            <a:r>
              <a:rPr lang="en-GB" noProof="0" dirty="0" err="1"/>
              <a:t>Praesent</a:t>
            </a:r>
            <a:r>
              <a:rPr lang="en-GB" noProof="0" dirty="0"/>
              <a:t> </a:t>
            </a:r>
            <a:r>
              <a:rPr lang="en-GB" noProof="0" dirty="0" err="1"/>
              <a:t>commodo</a:t>
            </a:r>
            <a:r>
              <a:rPr lang="en-GB" noProof="0" dirty="0"/>
              <a:t> cursus magna, </a:t>
            </a:r>
            <a:r>
              <a:rPr lang="en-GB" noProof="0" dirty="0" err="1"/>
              <a:t>vel</a:t>
            </a:r>
            <a:r>
              <a:rPr lang="en-GB" noProof="0" dirty="0"/>
              <a:t> </a:t>
            </a:r>
            <a:r>
              <a:rPr lang="en-GB" noProof="0" dirty="0" err="1"/>
              <a:t>scelerisque</a:t>
            </a:r>
            <a:r>
              <a:rPr lang="en-GB" noProof="0" dirty="0"/>
              <a:t> </a:t>
            </a:r>
            <a:r>
              <a:rPr lang="en-GB" noProof="0" dirty="0" err="1"/>
              <a:t>nisl</a:t>
            </a:r>
            <a:r>
              <a:rPr lang="en-GB" noProof="0" dirty="0"/>
              <a:t> </a:t>
            </a:r>
            <a:r>
              <a:rPr lang="en-GB" noProof="0" dirty="0" err="1"/>
              <a:t>consectetur</a:t>
            </a:r>
            <a:r>
              <a:rPr lang="en-GB" noProof="0" dirty="0"/>
              <a:t> et. </a:t>
            </a:r>
            <a:r>
              <a:rPr lang="en-GB" noProof="0" dirty="0" err="1"/>
              <a:t>Sed</a:t>
            </a:r>
            <a:r>
              <a:rPr lang="en-GB" noProof="0" dirty="0"/>
              <a:t> </a:t>
            </a:r>
            <a:r>
              <a:rPr lang="en-GB" noProof="0" dirty="0" err="1"/>
              <a:t>posuere</a:t>
            </a:r>
            <a:r>
              <a:rPr lang="en-GB" noProof="0" dirty="0"/>
              <a:t> </a:t>
            </a:r>
            <a:r>
              <a:rPr lang="en-GB" noProof="0" dirty="0" err="1"/>
              <a:t>consectetur</a:t>
            </a:r>
            <a:r>
              <a:rPr lang="en-GB" noProof="0" dirty="0"/>
              <a:t> </a:t>
            </a:r>
            <a:r>
              <a:rPr lang="en-GB" noProof="0" dirty="0" err="1"/>
              <a:t>est</a:t>
            </a:r>
            <a:r>
              <a:rPr lang="en-GB" noProof="0" dirty="0"/>
              <a:t> at </a:t>
            </a:r>
            <a:r>
              <a:rPr lang="en-GB" noProof="0" dirty="0" err="1"/>
              <a:t>lobortis</a:t>
            </a:r>
            <a:r>
              <a:rPr lang="en-GB" noProof="0" dirty="0"/>
              <a:t>.</a:t>
            </a:r>
          </a:p>
        </p:txBody>
      </p:sp>
    </p:spTree>
    <p:extLst>
      <p:ext uri="{BB962C8B-B14F-4D97-AF65-F5344CB8AC3E}">
        <p14:creationId xmlns:p14="http://schemas.microsoft.com/office/powerpoint/2010/main" val="199271136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rmAutofit/>
          </a:bodyPr>
          <a:lstStyle>
            <a:lvl1pPr>
              <a:spcBef>
                <a:spcPts val="185"/>
              </a:spcBef>
              <a:defRPr sz="1200">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GB" dirty="0"/>
              <a:t>Click to edit Master text styles</a:t>
            </a:r>
            <a:endParaRPr lang="en-GB"/>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400"/>
            </a:lvl1pPr>
            <a:lvl2pPr>
              <a:spcBef>
                <a:spcPts val="277"/>
              </a:spcBef>
              <a:defRPr/>
            </a:lvl2pPr>
            <a:lvl3pPr>
              <a:spcBef>
                <a:spcPts val="277"/>
              </a:spcBef>
              <a:defRPr/>
            </a:lvl3pPr>
            <a:lvl4pPr>
              <a:spcBef>
                <a:spcPts val="277"/>
              </a:spcBef>
              <a:defRPr/>
            </a:lvl4pPr>
            <a:lvl5pPr>
              <a:spcBef>
                <a:spcPts val="277"/>
              </a:spcBef>
              <a:defRPr/>
            </a:lvl5pPr>
          </a:lstStyle>
          <a:p>
            <a:pPr lvl="0"/>
            <a:r>
              <a:rPr lang="en-GB" dirty="0"/>
              <a:t>Click to edit Master text styles</a:t>
            </a:r>
            <a:endParaRPr lang="en-GB"/>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endParaRPr lang="en-GB"/>
          </a:p>
        </p:txBody>
      </p:sp>
    </p:spTree>
    <p:extLst>
      <p:ext uri="{BB962C8B-B14F-4D97-AF65-F5344CB8AC3E}">
        <p14:creationId xmlns:p14="http://schemas.microsoft.com/office/powerpoint/2010/main" val="1128126015"/>
      </p:ext>
    </p:extLst>
  </p:cSld>
  <p:clrMapOvr>
    <a:masterClrMapping/>
  </p:clrMapOvr>
  <p:transition>
    <p:fade/>
  </p:transition>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rganisational Change Management: Conten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340178"/>
            <a:ext cx="9144000" cy="691243"/>
          </a:xfrm>
          <a:prstGeom prst="rect">
            <a:avLst/>
          </a:prstGeom>
        </p:spPr>
        <p:txBody>
          <a:bodyPr vert="horz" lIns="0" tIns="0" rIns="0" bIns="0" rtlCol="0" anchor="ctr" anchorCtr="0">
            <a:noAutofit/>
          </a:bodyPr>
          <a:lstStyle>
            <a:lvl1pPr>
              <a:defRPr sz="24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noProof="0" dirty="0"/>
              <a:t>Your headline goes here when you’re ready</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1031421"/>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noProof="0" dirty="0"/>
              <a:t>2 lines running intro text. Morbi </a:t>
            </a:r>
            <a:r>
              <a:rPr lang="en-GB" noProof="0" dirty="0" err="1"/>
              <a:t>leo</a:t>
            </a:r>
            <a:r>
              <a:rPr lang="en-GB" noProof="0" dirty="0"/>
              <a:t> </a:t>
            </a:r>
            <a:r>
              <a:rPr lang="en-GB" noProof="0" dirty="0" err="1"/>
              <a:t>risus</a:t>
            </a:r>
            <a:r>
              <a:rPr lang="en-GB" noProof="0" dirty="0"/>
              <a:t>, porta ac </a:t>
            </a:r>
            <a:r>
              <a:rPr lang="en-GB" noProof="0" dirty="0" err="1"/>
              <a:t>consectetur</a:t>
            </a:r>
            <a:r>
              <a:rPr lang="en-GB" noProof="0" dirty="0"/>
              <a:t> ac, vestibulum at eros. Donec </a:t>
            </a:r>
            <a:r>
              <a:rPr lang="en-GB" noProof="0" dirty="0" err="1"/>
              <a:t>sed</a:t>
            </a:r>
            <a:r>
              <a:rPr lang="en-GB" noProof="0" dirty="0"/>
              <a:t> </a:t>
            </a:r>
            <a:r>
              <a:rPr lang="en-GB" noProof="0" dirty="0" err="1"/>
              <a:t>odio</a:t>
            </a:r>
            <a:r>
              <a:rPr lang="en-GB" noProof="0" dirty="0"/>
              <a:t> dui. </a:t>
            </a:r>
            <a:r>
              <a:rPr lang="en-GB" noProof="0" dirty="0" err="1"/>
              <a:t>Praesent</a:t>
            </a:r>
            <a:r>
              <a:rPr lang="en-GB" noProof="0" dirty="0"/>
              <a:t> </a:t>
            </a:r>
            <a:r>
              <a:rPr lang="en-GB" noProof="0" dirty="0" err="1"/>
              <a:t>commodo</a:t>
            </a:r>
            <a:r>
              <a:rPr lang="en-GB" noProof="0" dirty="0"/>
              <a:t> cursus magna, </a:t>
            </a:r>
            <a:r>
              <a:rPr lang="en-GB" noProof="0" dirty="0" err="1"/>
              <a:t>vel</a:t>
            </a:r>
            <a:r>
              <a:rPr lang="en-GB" noProof="0" dirty="0"/>
              <a:t> </a:t>
            </a:r>
            <a:r>
              <a:rPr lang="en-GB" noProof="0" dirty="0" err="1"/>
              <a:t>scelerisque</a:t>
            </a:r>
            <a:r>
              <a:rPr lang="en-GB" noProof="0" dirty="0"/>
              <a:t> </a:t>
            </a:r>
            <a:r>
              <a:rPr lang="en-GB" noProof="0" dirty="0" err="1"/>
              <a:t>nisl</a:t>
            </a:r>
            <a:r>
              <a:rPr lang="en-GB" noProof="0" dirty="0"/>
              <a:t> </a:t>
            </a:r>
            <a:r>
              <a:rPr lang="en-GB" noProof="0" dirty="0" err="1"/>
              <a:t>consectetur</a:t>
            </a:r>
            <a:r>
              <a:rPr lang="en-GB" noProof="0" dirty="0"/>
              <a:t> et. </a:t>
            </a:r>
            <a:r>
              <a:rPr lang="en-GB" noProof="0" dirty="0" err="1"/>
              <a:t>Sed</a:t>
            </a:r>
            <a:r>
              <a:rPr lang="en-GB" noProof="0" dirty="0"/>
              <a:t> </a:t>
            </a:r>
            <a:r>
              <a:rPr lang="en-GB" noProof="0" dirty="0" err="1"/>
              <a:t>posuere</a:t>
            </a:r>
            <a:r>
              <a:rPr lang="en-GB" noProof="0" dirty="0"/>
              <a:t> </a:t>
            </a:r>
            <a:r>
              <a:rPr lang="en-GB" noProof="0" dirty="0" err="1"/>
              <a:t>consectetur</a:t>
            </a:r>
            <a:r>
              <a:rPr lang="en-GB" noProof="0" dirty="0"/>
              <a:t> </a:t>
            </a:r>
            <a:r>
              <a:rPr lang="en-GB" noProof="0" dirty="0" err="1"/>
              <a:t>est</a:t>
            </a:r>
            <a:r>
              <a:rPr lang="en-GB" noProof="0" dirty="0"/>
              <a:t> at </a:t>
            </a:r>
            <a:r>
              <a:rPr lang="en-GB" noProof="0" dirty="0" err="1"/>
              <a:t>lobortis</a:t>
            </a:r>
            <a:r>
              <a:rPr lang="en-GB" noProof="0" dirty="0"/>
              <a:t>.</a:t>
            </a:r>
          </a:p>
        </p:txBody>
      </p:sp>
    </p:spTree>
    <p:extLst>
      <p:ext uri="{BB962C8B-B14F-4D97-AF65-F5344CB8AC3E}">
        <p14:creationId xmlns:p14="http://schemas.microsoft.com/office/powerpoint/2010/main" val="323831592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Content 1">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340178"/>
            <a:ext cx="9144000" cy="691243"/>
          </a:xfrm>
          <a:prstGeom prst="rect">
            <a:avLst/>
          </a:prstGeom>
        </p:spPr>
        <p:txBody>
          <a:bodyPr vert="horz" lIns="0" tIns="0" rIns="0" bIns="0" rtlCol="0" anchor="ctr" anchorCtr="0">
            <a:noAutofit/>
          </a:bodyPr>
          <a:lstStyle>
            <a:lvl1pPr>
              <a:defRPr sz="24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noProof="0" dirty="0"/>
              <a:t>Your headline goes here when you’re ready</a:t>
            </a:r>
          </a:p>
        </p:txBody>
      </p:sp>
      <p:sp>
        <p:nvSpPr>
          <p:cNvPr id="9" name="Text Placeholder 7">
            <a:extLst>
              <a:ext uri="{FF2B5EF4-FFF2-40B4-BE49-F238E27FC236}">
                <a16:creationId xmlns:a16="http://schemas.microsoft.com/office/drawing/2014/main" id="{B0A8EFBF-6B77-C94F-8440-771FCE729521}"/>
              </a:ext>
            </a:extLst>
          </p:cNvPr>
          <p:cNvSpPr>
            <a:spLocks noGrp="1"/>
          </p:cNvSpPr>
          <p:nvPr>
            <p:ph type="body" sz="quarter" idx="14" hasCustomPrompt="1"/>
          </p:nvPr>
        </p:nvSpPr>
        <p:spPr>
          <a:xfrm>
            <a:off x="457200" y="1031421"/>
            <a:ext cx="7353300" cy="584200"/>
          </a:xfrm>
        </p:spPr>
        <p:txBody>
          <a:bodyPr>
            <a:noAutofit/>
          </a:bodyPr>
          <a:lstStyle>
            <a:lvl1pPr marL="0" marR="0" indent="0" algn="l" defTabSz="914400" rtl="0" eaLnBrk="1" fontAlgn="auto" latinLnBrk="0" hangingPunct="1">
              <a:lnSpc>
                <a:spcPct val="120000"/>
              </a:lnSpc>
              <a:spcBef>
                <a:spcPts val="0"/>
              </a:spcBef>
              <a:spcAft>
                <a:spcPts val="0"/>
              </a:spcAft>
              <a:buClrTx/>
              <a:buSzTx/>
              <a:buFontTx/>
              <a:buNone/>
              <a:tabLst/>
              <a:defRPr sz="1100"/>
            </a:lvl1pPr>
          </a:lstStyle>
          <a:p>
            <a:pPr lvl="0"/>
            <a:r>
              <a:rPr lang="en-GB" noProof="0" dirty="0"/>
              <a:t>2 lines running intro text. Morbi </a:t>
            </a:r>
            <a:r>
              <a:rPr lang="en-GB" noProof="0" dirty="0" err="1"/>
              <a:t>leo</a:t>
            </a:r>
            <a:r>
              <a:rPr lang="en-GB" noProof="0" dirty="0"/>
              <a:t> </a:t>
            </a:r>
            <a:r>
              <a:rPr lang="en-GB" noProof="0" dirty="0" err="1"/>
              <a:t>risus</a:t>
            </a:r>
            <a:r>
              <a:rPr lang="en-GB" noProof="0" dirty="0"/>
              <a:t>, porta ac </a:t>
            </a:r>
            <a:r>
              <a:rPr lang="en-GB" noProof="0" dirty="0" err="1"/>
              <a:t>consectetur</a:t>
            </a:r>
            <a:r>
              <a:rPr lang="en-GB" noProof="0" dirty="0"/>
              <a:t> ac, vestibulum at eros. Donec </a:t>
            </a:r>
            <a:r>
              <a:rPr lang="en-GB" noProof="0" dirty="0" err="1"/>
              <a:t>sed</a:t>
            </a:r>
            <a:r>
              <a:rPr lang="en-GB" noProof="0" dirty="0"/>
              <a:t> </a:t>
            </a:r>
            <a:r>
              <a:rPr lang="en-GB" noProof="0" dirty="0" err="1"/>
              <a:t>odio</a:t>
            </a:r>
            <a:r>
              <a:rPr lang="en-GB" noProof="0" dirty="0"/>
              <a:t> dui. </a:t>
            </a:r>
            <a:r>
              <a:rPr lang="en-GB" noProof="0" dirty="0" err="1"/>
              <a:t>Praesent</a:t>
            </a:r>
            <a:r>
              <a:rPr lang="en-GB" noProof="0" dirty="0"/>
              <a:t> </a:t>
            </a:r>
            <a:r>
              <a:rPr lang="en-GB" noProof="0" dirty="0" err="1"/>
              <a:t>commodo</a:t>
            </a:r>
            <a:r>
              <a:rPr lang="en-GB" noProof="0" dirty="0"/>
              <a:t> cursus magna, </a:t>
            </a:r>
            <a:r>
              <a:rPr lang="en-GB" noProof="0" dirty="0" err="1"/>
              <a:t>vel</a:t>
            </a:r>
            <a:r>
              <a:rPr lang="en-GB" noProof="0" dirty="0"/>
              <a:t> </a:t>
            </a:r>
            <a:r>
              <a:rPr lang="en-GB" noProof="0" dirty="0" err="1"/>
              <a:t>scelerisque</a:t>
            </a:r>
            <a:r>
              <a:rPr lang="en-GB" noProof="0" dirty="0"/>
              <a:t> </a:t>
            </a:r>
            <a:r>
              <a:rPr lang="en-GB" noProof="0" dirty="0" err="1"/>
              <a:t>nisl</a:t>
            </a:r>
            <a:r>
              <a:rPr lang="en-GB" noProof="0" dirty="0"/>
              <a:t> </a:t>
            </a:r>
            <a:r>
              <a:rPr lang="en-GB" noProof="0" dirty="0" err="1"/>
              <a:t>consectetur</a:t>
            </a:r>
            <a:r>
              <a:rPr lang="en-GB" noProof="0" dirty="0"/>
              <a:t> et. </a:t>
            </a:r>
            <a:r>
              <a:rPr lang="en-GB" noProof="0" dirty="0" err="1"/>
              <a:t>Sed</a:t>
            </a:r>
            <a:r>
              <a:rPr lang="en-GB" noProof="0" dirty="0"/>
              <a:t> </a:t>
            </a:r>
            <a:r>
              <a:rPr lang="en-GB" noProof="0" dirty="0" err="1"/>
              <a:t>posuere</a:t>
            </a:r>
            <a:r>
              <a:rPr lang="en-GB" noProof="0" dirty="0"/>
              <a:t> </a:t>
            </a:r>
            <a:r>
              <a:rPr lang="en-GB" noProof="0" dirty="0" err="1"/>
              <a:t>consectetur</a:t>
            </a:r>
            <a:r>
              <a:rPr lang="en-GB" noProof="0" dirty="0"/>
              <a:t> </a:t>
            </a:r>
            <a:r>
              <a:rPr lang="en-GB" noProof="0" dirty="0" err="1"/>
              <a:t>est</a:t>
            </a:r>
            <a:r>
              <a:rPr lang="en-GB" noProof="0" dirty="0"/>
              <a:t> at </a:t>
            </a:r>
            <a:r>
              <a:rPr lang="en-GB" noProof="0" dirty="0" err="1"/>
              <a:t>lobortis</a:t>
            </a:r>
            <a:r>
              <a:rPr lang="en-GB" noProof="0" dirty="0"/>
              <a:t>.</a:t>
            </a:r>
          </a:p>
        </p:txBody>
      </p:sp>
    </p:spTree>
    <p:extLst>
      <p:ext uri="{BB962C8B-B14F-4D97-AF65-F5344CB8AC3E}">
        <p14:creationId xmlns:p14="http://schemas.microsoft.com/office/powerpoint/2010/main" val="3244601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1FFF62A-78AC-4176-888C-7369D55740C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1" name="Oval 5">
              <a:extLst>
                <a:ext uri="{FF2B5EF4-FFF2-40B4-BE49-F238E27FC236}">
                  <a16:creationId xmlns:a16="http://schemas.microsoft.com/office/drawing/2014/main" id="{FD77EF0A-6F9B-4CB4-BDFE-54901AC3BDE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solidFill>
                  <a:schemeClr val="bg1"/>
                </a:solidFill>
              </a:endParaRPr>
            </a:p>
          </p:txBody>
        </p:sp>
        <p:sp>
          <p:nvSpPr>
            <p:cNvPr id="22" name="Freeform 6">
              <a:extLst>
                <a:ext uri="{FF2B5EF4-FFF2-40B4-BE49-F238E27FC236}">
                  <a16:creationId xmlns:a16="http://schemas.microsoft.com/office/drawing/2014/main" id="{CFBCB662-4DCB-4701-B5DB-617E9625AC3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solidFill>
                  <a:schemeClr val="bg1"/>
                </a:solidFill>
              </a:endParaRPr>
            </a:p>
          </p:txBody>
        </p:sp>
        <p:sp>
          <p:nvSpPr>
            <p:cNvPr id="23" name="Rectangle 7">
              <a:extLst>
                <a:ext uri="{FF2B5EF4-FFF2-40B4-BE49-F238E27FC236}">
                  <a16:creationId xmlns:a16="http://schemas.microsoft.com/office/drawing/2014/main" id="{3AA8F7EF-0FC0-4792-B4E2-516188FAADCC}"/>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noProof="0" dirty="0">
                <a:solidFill>
                  <a:schemeClr val="bg1"/>
                </a:solidFill>
              </a:endParaRPr>
            </a:p>
          </p:txBody>
        </p:sp>
        <p:sp>
          <p:nvSpPr>
            <p:cNvPr id="24" name="Freeform 8">
              <a:extLst>
                <a:ext uri="{FF2B5EF4-FFF2-40B4-BE49-F238E27FC236}">
                  <a16:creationId xmlns:a16="http://schemas.microsoft.com/office/drawing/2014/main" id="{7180810E-179A-4B4D-992C-DB02F3F2AA7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solidFill>
                  <a:schemeClr val="bg1"/>
                </a:solidFill>
              </a:endParaRPr>
            </a:p>
          </p:txBody>
        </p:sp>
        <p:sp>
          <p:nvSpPr>
            <p:cNvPr id="25" name="Rectangle 9">
              <a:extLst>
                <a:ext uri="{FF2B5EF4-FFF2-40B4-BE49-F238E27FC236}">
                  <a16:creationId xmlns:a16="http://schemas.microsoft.com/office/drawing/2014/main" id="{931CFAC2-92E1-42CB-BB66-BD91AB6DB50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noProof="0" dirty="0">
                <a:solidFill>
                  <a:schemeClr val="bg1"/>
                </a:solidFill>
              </a:endParaRPr>
            </a:p>
          </p:txBody>
        </p:sp>
        <p:sp>
          <p:nvSpPr>
            <p:cNvPr id="26" name="Rectangle 10">
              <a:extLst>
                <a:ext uri="{FF2B5EF4-FFF2-40B4-BE49-F238E27FC236}">
                  <a16:creationId xmlns:a16="http://schemas.microsoft.com/office/drawing/2014/main" id="{6C92D323-CA87-4BD4-9F33-9346A18A679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noProof="0" dirty="0">
                <a:solidFill>
                  <a:schemeClr val="bg1"/>
                </a:solidFill>
              </a:endParaRPr>
            </a:p>
          </p:txBody>
        </p:sp>
        <p:sp>
          <p:nvSpPr>
            <p:cNvPr id="27" name="Freeform 11">
              <a:extLst>
                <a:ext uri="{FF2B5EF4-FFF2-40B4-BE49-F238E27FC236}">
                  <a16:creationId xmlns:a16="http://schemas.microsoft.com/office/drawing/2014/main" id="{D31146A3-7248-4F9C-8242-2B343E0BCE4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solidFill>
                  <a:schemeClr val="bg1"/>
                </a:solidFill>
              </a:endParaRPr>
            </a:p>
          </p:txBody>
        </p:sp>
        <p:sp>
          <p:nvSpPr>
            <p:cNvPr id="28" name="Freeform 12">
              <a:extLst>
                <a:ext uri="{FF2B5EF4-FFF2-40B4-BE49-F238E27FC236}">
                  <a16:creationId xmlns:a16="http://schemas.microsoft.com/office/drawing/2014/main" id="{4BFA0610-A333-4B16-A20C-3ADB78A32CF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solidFill>
                  <a:schemeClr val="bg1"/>
                </a:solidFill>
              </a:endParaRPr>
            </a:p>
          </p:txBody>
        </p:sp>
        <p:sp>
          <p:nvSpPr>
            <p:cNvPr id="29" name="Freeform 13">
              <a:extLst>
                <a:ext uri="{FF2B5EF4-FFF2-40B4-BE49-F238E27FC236}">
                  <a16:creationId xmlns:a16="http://schemas.microsoft.com/office/drawing/2014/main" id="{D81528E3-7AAB-4FE3-96EB-0CA354538CA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solidFill>
                  <a:schemeClr val="bg1"/>
                </a:solidFill>
              </a:endParaRPr>
            </a:p>
          </p:txBody>
        </p:sp>
        <p:sp>
          <p:nvSpPr>
            <p:cNvPr id="30" name="Freeform 14">
              <a:extLst>
                <a:ext uri="{FF2B5EF4-FFF2-40B4-BE49-F238E27FC236}">
                  <a16:creationId xmlns:a16="http://schemas.microsoft.com/office/drawing/2014/main" id="{7C686C02-5833-4DB0-8AD3-1E143B411A13}"/>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noProof="0" dirty="0">
                <a:solidFill>
                  <a:schemeClr val="bg1"/>
                </a:solidFill>
              </a:endParaRPr>
            </a:p>
          </p:txBody>
        </p:sp>
      </p:grpSp>
      <p:sp>
        <p:nvSpPr>
          <p:cNvPr id="16" name="object 2">
            <a:extLst>
              <a:ext uri="{FF2B5EF4-FFF2-40B4-BE49-F238E27FC236}">
                <a16:creationId xmlns:a16="http://schemas.microsoft.com/office/drawing/2014/main" id="{6B563170-3F59-D64E-BAE2-6F5DFF0A854D}"/>
              </a:ext>
            </a:extLst>
          </p:cNvPr>
          <p:cNvSpPr txBox="1"/>
          <p:nvPr userDrawn="1"/>
        </p:nvSpPr>
        <p:spPr>
          <a:xfrm>
            <a:off x="469900" y="4004442"/>
            <a:ext cx="8028057" cy="2549416"/>
          </a:xfrm>
          <a:prstGeom prst="rect">
            <a:avLst/>
          </a:prstGeom>
        </p:spPr>
        <p:txBody>
          <a:bodyPr vert="horz" wrap="square" lIns="0" tIns="12700" rIns="0" bIns="0" rtlCol="0">
            <a:spAutoFit/>
          </a:bodyPr>
          <a:lstStyle/>
          <a:p>
            <a:pPr marL="12700" marR="5080">
              <a:spcBef>
                <a:spcPts val="100"/>
              </a:spcBef>
            </a:pPr>
            <a:r>
              <a:rPr lang="en-GB" sz="850" noProof="0" dirty="0">
                <a:solidFill>
                  <a:srgbClr val="020203"/>
                </a:solidFill>
                <a:latin typeface="Calibri" panose="020F0502020204030204" pitchFamily="34" charset="0"/>
                <a:cs typeface="Calibri" panose="020F0502020204030204" pitchFamily="34" charset="0"/>
              </a:rPr>
              <a:t>This document has been prepared by Deloitte LLP for the sole purpose of enabling the parties to whom it is addressed to evaluate the capabilities of Deloitte LLP to supply the proposed services.</a:t>
            </a:r>
            <a:br>
              <a:rPr lang="en-GB" sz="850" noProof="0" dirty="0">
                <a:solidFill>
                  <a:srgbClr val="020203"/>
                </a:solidFill>
                <a:latin typeface="Calibri" panose="020F0502020204030204" pitchFamily="34" charset="0"/>
                <a:cs typeface="Calibri" panose="020F0502020204030204" pitchFamily="34" charset="0"/>
              </a:rPr>
            </a:br>
            <a:endParaRPr lang="en-GB" sz="850" noProof="0" dirty="0">
              <a:solidFill>
                <a:srgbClr val="020203"/>
              </a:solidFill>
              <a:latin typeface="Calibri" panose="020F0502020204030204" pitchFamily="34" charset="0"/>
              <a:cs typeface="Calibri" panose="020F0502020204030204" pitchFamily="34" charset="0"/>
            </a:endParaRPr>
          </a:p>
          <a:p>
            <a:pPr marL="12700" marR="5080">
              <a:spcBef>
                <a:spcPts val="100"/>
              </a:spcBef>
            </a:pPr>
            <a:r>
              <a:rPr lang="en-GB" sz="850" noProof="0" dirty="0">
                <a:solidFill>
                  <a:srgbClr val="020203"/>
                </a:solidFill>
                <a:latin typeface="Calibri" panose="020F0502020204030204" pitchFamily="34" charset="0"/>
                <a:cs typeface="Calibri" panose="020F0502020204030204" pitchFamily="34" charset="0"/>
              </a:rPr>
              <a:t>Other than as stated below, this document and its contents are confidential and prepared solely for your information, and may not be reproduced, redistributed or passed on to any other person in whole or in part. If this document contains details of an arrangement that could result in a tax or National Insurance saving, no such conditions of confidentiality apply to the details of that arrangement (for example, for the purpose of discussion with tax authorities). No other party is entitled to rely on this document for any purpose whatsoever and we accept no liability to any other party who is shown or obtains access to this document.</a:t>
            </a:r>
            <a:br>
              <a:rPr lang="en-GB" sz="850" noProof="0" dirty="0">
                <a:solidFill>
                  <a:srgbClr val="020203"/>
                </a:solidFill>
                <a:latin typeface="Calibri" panose="020F0502020204030204" pitchFamily="34" charset="0"/>
                <a:cs typeface="Calibri" panose="020F0502020204030204" pitchFamily="34" charset="0"/>
              </a:rPr>
            </a:br>
            <a:endParaRPr lang="en-GB" sz="850" noProof="0" dirty="0">
              <a:solidFill>
                <a:srgbClr val="020203"/>
              </a:solidFill>
              <a:latin typeface="Calibri" panose="020F0502020204030204" pitchFamily="34" charset="0"/>
              <a:cs typeface="Calibri" panose="020F0502020204030204" pitchFamily="34" charset="0"/>
            </a:endParaRPr>
          </a:p>
          <a:p>
            <a:pPr marL="12700" marR="5080">
              <a:spcBef>
                <a:spcPts val="100"/>
              </a:spcBef>
            </a:pPr>
            <a:r>
              <a:rPr lang="en-GB" sz="850" noProof="0" dirty="0">
                <a:solidFill>
                  <a:srgbClr val="020203"/>
                </a:solidFill>
                <a:latin typeface="Calibri" panose="020F0502020204030204" pitchFamily="34" charset="0"/>
                <a:cs typeface="Calibri" panose="020F0502020204030204" pitchFamily="34" charset="0"/>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a:t>
            </a:r>
            <a:br>
              <a:rPr lang="en-GB" sz="850" noProof="0" dirty="0">
                <a:solidFill>
                  <a:srgbClr val="020203"/>
                </a:solidFill>
                <a:latin typeface="Calibri" panose="020F0502020204030204" pitchFamily="34" charset="0"/>
                <a:cs typeface="Calibri" panose="020F0502020204030204" pitchFamily="34" charset="0"/>
              </a:rPr>
            </a:br>
            <a:endParaRPr lang="en-GB" sz="850" noProof="0" dirty="0">
              <a:solidFill>
                <a:srgbClr val="020203"/>
              </a:solidFill>
              <a:latin typeface="Calibri" panose="020F0502020204030204" pitchFamily="34" charset="0"/>
              <a:cs typeface="Calibri" panose="020F0502020204030204" pitchFamily="34" charset="0"/>
            </a:endParaRPr>
          </a:p>
          <a:p>
            <a:pPr marL="12700" marR="5080">
              <a:spcBef>
                <a:spcPts val="100"/>
              </a:spcBef>
            </a:pPr>
            <a:r>
              <a:rPr lang="en-GB" sz="850" noProof="0" dirty="0">
                <a:solidFill>
                  <a:srgbClr val="020203"/>
                </a:solidFill>
                <a:latin typeface="Calibri" panose="020F0502020204030204" pitchFamily="34" charset="0"/>
                <a:cs typeface="Calibri" panose="020F0502020204030204" pitchFamily="34" charset="0"/>
              </a:rPr>
              <a:t>Deloitte LLP is a limited liability partnership registered in England and Wales with registered number OC303675 and its registered office at 1 New Street Square, London EC4A 3HQ, United Kingdom. Deloitte LLP is the United Kingdom affiliate of Deloitte NSE LLP, a member firm of Deloitte Touche Tohmatsu Limited, a UK private company limited by guarantee ("DTTL"). DTTL and each of its member firms are legally separate and independent entities. DTTL and Deloitte NSE LLP do not provide services to clients. Please click here to learn more about our global network of member firms.</a:t>
            </a:r>
            <a:br>
              <a:rPr lang="en-GB" sz="850" noProof="0" dirty="0">
                <a:solidFill>
                  <a:srgbClr val="020203"/>
                </a:solidFill>
                <a:latin typeface="Calibri" panose="020F0502020204030204" pitchFamily="34" charset="0"/>
                <a:cs typeface="Calibri" panose="020F0502020204030204" pitchFamily="34" charset="0"/>
              </a:rPr>
            </a:br>
            <a:br>
              <a:rPr lang="en-GB" sz="850" noProof="0" dirty="0">
                <a:solidFill>
                  <a:srgbClr val="020203"/>
                </a:solidFill>
                <a:latin typeface="Calibri" panose="020F0502020204030204" pitchFamily="34" charset="0"/>
                <a:cs typeface="Calibri" panose="020F0502020204030204" pitchFamily="34" charset="0"/>
              </a:rPr>
            </a:br>
            <a:r>
              <a:rPr lang="en-GB" sz="850" noProof="0" dirty="0">
                <a:solidFill>
                  <a:srgbClr val="020203"/>
                </a:solidFill>
                <a:latin typeface="Calibri" panose="020F0502020204030204" pitchFamily="34" charset="0"/>
                <a:cs typeface="Calibri" panose="020F0502020204030204" pitchFamily="34" charset="0"/>
              </a:rPr>
              <a:t>Designed </a:t>
            </a:r>
            <a:r>
              <a:rPr lang="en-GB" sz="850" spc="-5" noProof="0" dirty="0">
                <a:solidFill>
                  <a:srgbClr val="020203"/>
                </a:solidFill>
                <a:latin typeface="Calibri" panose="020F0502020204030204" pitchFamily="34" charset="0"/>
                <a:cs typeface="Calibri" panose="020F0502020204030204" pitchFamily="34" charset="0"/>
              </a:rPr>
              <a:t>and </a:t>
            </a:r>
            <a:r>
              <a:rPr lang="en-GB" sz="850" noProof="0" dirty="0">
                <a:solidFill>
                  <a:srgbClr val="020203"/>
                </a:solidFill>
                <a:latin typeface="Calibri" panose="020F0502020204030204" pitchFamily="34" charset="0"/>
                <a:cs typeface="Calibri" panose="020F0502020204030204" pitchFamily="34" charset="0"/>
              </a:rPr>
              <a:t>produced by </a:t>
            </a:r>
            <a:r>
              <a:rPr lang="en-GB" sz="850" spc="-5" noProof="0" dirty="0">
                <a:solidFill>
                  <a:srgbClr val="020203"/>
                </a:solidFill>
                <a:latin typeface="Calibri" panose="020F0502020204030204" pitchFamily="34" charset="0"/>
                <a:cs typeface="Calibri" panose="020F0502020204030204" pitchFamily="34" charset="0"/>
              </a:rPr>
              <a:t>the Global Risk </a:t>
            </a:r>
            <a:r>
              <a:rPr lang="en-GB" sz="850" noProof="0" dirty="0">
                <a:solidFill>
                  <a:srgbClr val="020203"/>
                </a:solidFill>
                <a:latin typeface="Calibri" panose="020F0502020204030204" pitchFamily="34" charset="0"/>
                <a:cs typeface="Calibri" panose="020F0502020204030204" pitchFamily="34" charset="0"/>
              </a:rPr>
              <a:t>Advisory </a:t>
            </a:r>
            <a:r>
              <a:rPr lang="en-GB" sz="850" spc="-5" noProof="0" dirty="0">
                <a:solidFill>
                  <a:srgbClr val="020203"/>
                </a:solidFill>
                <a:latin typeface="Calibri" panose="020F0502020204030204" pitchFamily="34" charset="0"/>
                <a:cs typeface="Calibri" panose="020F0502020204030204" pitchFamily="34" charset="0"/>
              </a:rPr>
              <a:t>PCoE at </a:t>
            </a:r>
            <a:r>
              <a:rPr lang="en-GB" sz="850" noProof="0" dirty="0">
                <a:solidFill>
                  <a:srgbClr val="020203"/>
                </a:solidFill>
                <a:latin typeface="Calibri" panose="020F0502020204030204" pitchFamily="34" charset="0"/>
                <a:cs typeface="Calibri" panose="020F0502020204030204" pitchFamily="34" charset="0"/>
              </a:rPr>
              <a:t>Deloitte, </a:t>
            </a:r>
            <a:r>
              <a:rPr lang="en-GB" sz="850" spc="-5" noProof="0" dirty="0">
                <a:solidFill>
                  <a:srgbClr val="020203"/>
                </a:solidFill>
                <a:latin typeface="Calibri" panose="020F0502020204030204" pitchFamily="34" charset="0"/>
                <a:cs typeface="Calibri" panose="020F0502020204030204" pitchFamily="34" charset="0"/>
              </a:rPr>
              <a:t>London.</a:t>
            </a:r>
            <a:r>
              <a:rPr lang="en-GB" sz="850" spc="5" noProof="0" dirty="0">
                <a:solidFill>
                  <a:srgbClr val="020203"/>
                </a:solidFill>
                <a:latin typeface="Calibri" panose="020F0502020204030204" pitchFamily="34" charset="0"/>
                <a:cs typeface="Calibri" panose="020F0502020204030204" pitchFamily="34" charset="0"/>
              </a:rPr>
              <a:t> </a:t>
            </a:r>
            <a:r>
              <a:rPr lang="en-GB" sz="850" spc="-5" noProof="0" dirty="0">
                <a:solidFill>
                  <a:srgbClr val="020203"/>
                </a:solidFill>
                <a:latin typeface="Calibri" panose="020F0502020204030204" pitchFamily="34" charset="0"/>
                <a:cs typeface="Calibri" panose="020F0502020204030204" pitchFamily="34" charset="0"/>
              </a:rPr>
              <a:t>RA0335</a:t>
            </a:r>
          </a:p>
          <a:p>
            <a:pPr marL="12700" marR="5080">
              <a:spcBef>
                <a:spcPts val="100"/>
              </a:spcBef>
            </a:pPr>
            <a:br>
              <a:rPr lang="en-GB" sz="850" spc="-5" noProof="0" dirty="0">
                <a:solidFill>
                  <a:srgbClr val="020203"/>
                </a:solidFill>
                <a:latin typeface="Calibri" panose="020F0502020204030204" pitchFamily="34" charset="0"/>
                <a:cs typeface="Calibri" panose="020F0502020204030204" pitchFamily="34" charset="0"/>
              </a:rPr>
            </a:br>
            <a:r>
              <a:rPr lang="en-GB" sz="850" noProof="0" dirty="0">
                <a:solidFill>
                  <a:srgbClr val="020203"/>
                </a:solidFill>
                <a:latin typeface="Calibri" panose="020F0502020204030204" pitchFamily="34" charset="0"/>
                <a:cs typeface="Calibri" panose="020F0502020204030204" pitchFamily="34" charset="0"/>
              </a:rPr>
              <a:t>© 2022 Deloitte LLP. All rights reserved</a:t>
            </a:r>
          </a:p>
        </p:txBody>
      </p:sp>
    </p:spTree>
    <p:extLst>
      <p:ext uri="{BB962C8B-B14F-4D97-AF65-F5344CB8AC3E}">
        <p14:creationId xmlns:p14="http://schemas.microsoft.com/office/powerpoint/2010/main" val="23277924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ppendix: CV 3 columns">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283AAB4-05BA-F745-AEC4-D94AEF23D5EE}"/>
              </a:ext>
            </a:extLst>
          </p:cNvPr>
          <p:cNvSpPr>
            <a:spLocks noGrp="1"/>
          </p:cNvSpPr>
          <p:nvPr>
            <p:ph type="title" hasCustomPrompt="1"/>
          </p:nvPr>
        </p:nvSpPr>
        <p:spPr bwMode="gray">
          <a:xfrm>
            <a:off x="457200" y="340178"/>
            <a:ext cx="9144000" cy="691243"/>
          </a:xfrm>
          <a:prstGeom prst="rect">
            <a:avLst/>
          </a:prstGeom>
        </p:spPr>
        <p:txBody>
          <a:bodyPr vert="horz" lIns="0" tIns="0" rIns="0" bIns="0" rtlCol="0" anchor="ctr" anchorCtr="0">
            <a:noAutofit/>
          </a:bodyPr>
          <a:lstStyle>
            <a:lvl1pPr>
              <a:defRPr sz="2400" b="0" i="0">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GB" noProof="0" dirty="0"/>
              <a:t>Your headline goes here when you’re ready</a:t>
            </a:r>
          </a:p>
        </p:txBody>
      </p:sp>
      <p:sp>
        <p:nvSpPr>
          <p:cNvPr id="27" name="object 2">
            <a:extLst>
              <a:ext uri="{FF2B5EF4-FFF2-40B4-BE49-F238E27FC236}">
                <a16:creationId xmlns:a16="http://schemas.microsoft.com/office/drawing/2014/main" id="{72522508-7F0F-A44A-BAAF-4942E7121D91}"/>
              </a:ext>
            </a:extLst>
          </p:cNvPr>
          <p:cNvSpPr/>
          <p:nvPr userDrawn="1"/>
        </p:nvSpPr>
        <p:spPr>
          <a:xfrm>
            <a:off x="10342002" y="0"/>
            <a:ext cx="1850619" cy="6858444"/>
          </a:xfrm>
          <a:custGeom>
            <a:avLst/>
            <a:gdLst/>
            <a:ahLst/>
            <a:cxnLst/>
            <a:rect l="l" t="t" r="r" b="b"/>
            <a:pathLst>
              <a:path w="2358390" h="6118859">
                <a:moveTo>
                  <a:pt x="0" y="6118415"/>
                </a:moveTo>
                <a:lnTo>
                  <a:pt x="2357767" y="6118415"/>
                </a:lnTo>
                <a:lnTo>
                  <a:pt x="2357767" y="0"/>
                </a:lnTo>
                <a:lnTo>
                  <a:pt x="0" y="0"/>
                </a:lnTo>
                <a:lnTo>
                  <a:pt x="0" y="6118415"/>
                </a:lnTo>
                <a:close/>
              </a:path>
            </a:pathLst>
          </a:custGeom>
          <a:solidFill>
            <a:schemeClr val="tx1"/>
          </a:solidFill>
        </p:spPr>
        <p:txBody>
          <a:bodyPr wrap="square" lIns="0" tIns="0" rIns="0" bIns="0" rtlCol="0"/>
          <a:lstStyle/>
          <a:p>
            <a:endParaRPr lang="en-GB" noProof="0" dirty="0"/>
          </a:p>
        </p:txBody>
      </p:sp>
      <p:sp>
        <p:nvSpPr>
          <p:cNvPr id="28" name="object 19">
            <a:hlinkClick r:id="" action="ppaction://noaction"/>
            <a:extLst>
              <a:ext uri="{FF2B5EF4-FFF2-40B4-BE49-F238E27FC236}">
                <a16:creationId xmlns:a16="http://schemas.microsoft.com/office/drawing/2014/main" id="{F57E7454-6DAE-304E-ADF8-8F8E8916F0CB}"/>
              </a:ext>
            </a:extLst>
          </p:cNvPr>
          <p:cNvSpPr txBox="1"/>
          <p:nvPr userDrawn="1"/>
        </p:nvSpPr>
        <p:spPr>
          <a:xfrm>
            <a:off x="10342625" y="265885"/>
            <a:ext cx="1849996" cy="473705"/>
          </a:xfrm>
          <a:prstGeom prst="rect">
            <a:avLst/>
          </a:prstGeom>
          <a:noFill/>
        </p:spPr>
        <p:txBody>
          <a:bodyPr vert="horz" wrap="square" lIns="0" tIns="0" rIns="0" bIns="0" rtlCol="0" anchor="ctr" anchorCtr="0">
            <a:noAutofit/>
          </a:bodyPr>
          <a:lstStyle/>
          <a:p>
            <a:pPr marL="179705">
              <a:lnSpc>
                <a:spcPct val="100000"/>
              </a:lnSpc>
              <a:spcBef>
                <a:spcPts val="1185"/>
              </a:spcBef>
            </a:pPr>
            <a:r>
              <a:rPr lang="en-GB" sz="1100" b="1" spc="-10" noProof="0" dirty="0">
                <a:solidFill>
                  <a:srgbClr val="FFFFFF"/>
                </a:solidFill>
                <a:latin typeface="+mn-lt"/>
                <a:cs typeface="Noto Sans"/>
              </a:rPr>
              <a:t>HOME</a:t>
            </a:r>
            <a:endParaRPr lang="en-GB" sz="1100" noProof="0" dirty="0">
              <a:latin typeface="+mn-lt"/>
              <a:cs typeface="Noto Sans"/>
            </a:endParaRPr>
          </a:p>
        </p:txBody>
      </p:sp>
      <p:sp>
        <p:nvSpPr>
          <p:cNvPr id="29" name="object 23">
            <a:hlinkClick r:id="" action="ppaction://noaction"/>
            <a:extLst>
              <a:ext uri="{FF2B5EF4-FFF2-40B4-BE49-F238E27FC236}">
                <a16:creationId xmlns:a16="http://schemas.microsoft.com/office/drawing/2014/main" id="{44DA1D80-4A41-BB46-82F1-2FFE3C16DAAB}"/>
              </a:ext>
            </a:extLst>
          </p:cNvPr>
          <p:cNvSpPr txBox="1"/>
          <p:nvPr userDrawn="1"/>
        </p:nvSpPr>
        <p:spPr>
          <a:xfrm>
            <a:off x="10342625" y="739592"/>
            <a:ext cx="1849996" cy="486414"/>
          </a:xfrm>
          <a:prstGeom prst="rect">
            <a:avLst/>
          </a:prstGeom>
          <a:noFill/>
        </p:spPr>
        <p:txBody>
          <a:bodyPr vert="horz" wrap="square" lIns="0" tIns="0" rIns="0" bIns="0" rtlCol="0" anchor="ctr" anchorCtr="0">
            <a:noAutofit/>
          </a:bodyPr>
          <a:lstStyle/>
          <a:p>
            <a:pPr marL="179705">
              <a:lnSpc>
                <a:spcPct val="100000"/>
              </a:lnSpc>
              <a:spcBef>
                <a:spcPts val="1185"/>
              </a:spcBef>
            </a:pPr>
            <a:r>
              <a:rPr lang="en-GB" sz="1100" b="1" i="0" spc="-15" noProof="0" dirty="0">
                <a:solidFill>
                  <a:schemeClr val="accent1"/>
                </a:solidFill>
                <a:latin typeface="Calibri" panose="020F0502020204030204" pitchFamily="34" charset="0"/>
                <a:cs typeface="Calibri" panose="020F0502020204030204" pitchFamily="34" charset="0"/>
              </a:rPr>
              <a:t>Introduction</a:t>
            </a:r>
            <a:endParaRPr lang="en-GB" sz="1100" b="1" i="0" noProof="0" dirty="0">
              <a:solidFill>
                <a:schemeClr val="accent1"/>
              </a:solidFill>
              <a:latin typeface="Calibri" panose="020F0502020204030204" pitchFamily="34" charset="0"/>
              <a:cs typeface="Calibri" panose="020F0502020204030204" pitchFamily="34" charset="0"/>
            </a:endParaRPr>
          </a:p>
        </p:txBody>
      </p:sp>
      <p:sp>
        <p:nvSpPr>
          <p:cNvPr id="30" name="object 24">
            <a:hlinkClick r:id="" action="ppaction://noaction"/>
            <a:extLst>
              <a:ext uri="{FF2B5EF4-FFF2-40B4-BE49-F238E27FC236}">
                <a16:creationId xmlns:a16="http://schemas.microsoft.com/office/drawing/2014/main" id="{2DE19BD2-540D-3740-B771-6F9D2A2469E4}"/>
              </a:ext>
            </a:extLst>
          </p:cNvPr>
          <p:cNvSpPr txBox="1"/>
          <p:nvPr userDrawn="1"/>
        </p:nvSpPr>
        <p:spPr>
          <a:xfrm>
            <a:off x="10342625" y="1223875"/>
            <a:ext cx="1849996" cy="488514"/>
          </a:xfrm>
          <a:prstGeom prst="rect">
            <a:avLst/>
          </a:prstGeom>
          <a:solidFill>
            <a:schemeClr val="tx1"/>
          </a:solidFill>
        </p:spPr>
        <p:txBody>
          <a:bodyPr vert="horz" wrap="square" lIns="0" tIns="0" rIns="0" bIns="0" rtlCol="0" anchor="ctr" anchorCtr="0">
            <a:noAutofit/>
          </a:bodyPr>
          <a:lstStyle/>
          <a:p>
            <a:pPr marL="179705">
              <a:lnSpc>
                <a:spcPct val="100000"/>
              </a:lnSpc>
              <a:spcBef>
                <a:spcPts val="1185"/>
              </a:spcBef>
            </a:pPr>
            <a:r>
              <a:rPr lang="en-GB" sz="1100" b="1" i="0" spc="-15" noProof="0" dirty="0">
                <a:solidFill>
                  <a:srgbClr val="009A44"/>
                </a:solidFill>
                <a:latin typeface="Calibri" panose="020F0502020204030204" pitchFamily="34" charset="0"/>
                <a:cs typeface="Calibri" panose="020F0502020204030204" pitchFamily="34" charset="0"/>
              </a:rPr>
              <a:t>Vision &amp; approach</a:t>
            </a:r>
            <a:endParaRPr lang="en-GB" sz="1100" b="1" i="0" noProof="0" dirty="0">
              <a:solidFill>
                <a:srgbClr val="009A44"/>
              </a:solidFill>
              <a:latin typeface="Calibri" panose="020F0502020204030204" pitchFamily="34" charset="0"/>
              <a:cs typeface="Calibri" panose="020F0502020204030204" pitchFamily="34" charset="0"/>
            </a:endParaRPr>
          </a:p>
        </p:txBody>
      </p:sp>
      <p:sp>
        <p:nvSpPr>
          <p:cNvPr id="31" name="object 25">
            <a:hlinkClick r:id="" action="ppaction://noaction"/>
            <a:extLst>
              <a:ext uri="{FF2B5EF4-FFF2-40B4-BE49-F238E27FC236}">
                <a16:creationId xmlns:a16="http://schemas.microsoft.com/office/drawing/2014/main" id="{E06C6538-930A-E847-B4CB-E3C9322BF075}"/>
              </a:ext>
            </a:extLst>
          </p:cNvPr>
          <p:cNvSpPr txBox="1"/>
          <p:nvPr userDrawn="1"/>
        </p:nvSpPr>
        <p:spPr>
          <a:xfrm>
            <a:off x="10342625" y="1725078"/>
            <a:ext cx="1849996" cy="473707"/>
          </a:xfrm>
          <a:prstGeom prst="rect">
            <a:avLst/>
          </a:prstGeom>
          <a:solidFill>
            <a:schemeClr val="tx1"/>
          </a:solidFill>
        </p:spPr>
        <p:txBody>
          <a:bodyPr vert="horz" wrap="square" lIns="0" tIns="0" rIns="0" bIns="0" rtlCol="0" anchor="ctr" anchorCtr="0">
            <a:noAutofit/>
          </a:bodyPr>
          <a:lstStyle/>
          <a:p>
            <a:pPr marL="179705">
              <a:lnSpc>
                <a:spcPct val="100000"/>
              </a:lnSpc>
              <a:spcBef>
                <a:spcPts val="1185"/>
              </a:spcBef>
            </a:pPr>
            <a:r>
              <a:rPr lang="en-GB" sz="1100" b="1" i="0" spc="-5" noProof="0" dirty="0">
                <a:solidFill>
                  <a:srgbClr val="007680"/>
                </a:solidFill>
                <a:latin typeface="Calibri" panose="020F0502020204030204" pitchFamily="34" charset="0"/>
                <a:cs typeface="Calibri" panose="020F0502020204030204" pitchFamily="34" charset="0"/>
              </a:rPr>
              <a:t>Timelines &amp; deliverables</a:t>
            </a:r>
          </a:p>
        </p:txBody>
      </p:sp>
      <p:sp>
        <p:nvSpPr>
          <p:cNvPr id="32" name="object 26">
            <a:hlinkClick r:id="" action="ppaction://noaction"/>
            <a:extLst>
              <a:ext uri="{FF2B5EF4-FFF2-40B4-BE49-F238E27FC236}">
                <a16:creationId xmlns:a16="http://schemas.microsoft.com/office/drawing/2014/main" id="{A1C3C215-7995-DC46-A47D-D58991264288}"/>
              </a:ext>
            </a:extLst>
          </p:cNvPr>
          <p:cNvSpPr txBox="1"/>
          <p:nvPr userDrawn="1"/>
        </p:nvSpPr>
        <p:spPr>
          <a:xfrm>
            <a:off x="10342625" y="2195781"/>
            <a:ext cx="1849996" cy="473707"/>
          </a:xfrm>
          <a:prstGeom prst="rect">
            <a:avLst/>
          </a:prstGeom>
          <a:solidFill>
            <a:schemeClr val="tx1"/>
          </a:solidFill>
        </p:spPr>
        <p:txBody>
          <a:bodyPr vert="horz" wrap="square" lIns="0" tIns="0" rIns="0" bIns="0" rtlCol="0" anchor="ctr" anchorCtr="0">
            <a:noAutofit/>
          </a:bodyPr>
          <a:lstStyle/>
          <a:p>
            <a:pPr marL="179705">
              <a:lnSpc>
                <a:spcPct val="100000"/>
              </a:lnSpc>
              <a:spcBef>
                <a:spcPts val="1185"/>
              </a:spcBef>
            </a:pPr>
            <a:r>
              <a:rPr lang="en-GB" sz="1100" b="1" i="0" spc="15" noProof="0" dirty="0">
                <a:solidFill>
                  <a:srgbClr val="00ABAB"/>
                </a:solidFill>
                <a:latin typeface="Calibri" panose="020F0502020204030204" pitchFamily="34" charset="0"/>
                <a:cs typeface="Calibri" panose="020F0502020204030204" pitchFamily="34" charset="0"/>
              </a:rPr>
              <a:t>Delivery &amp; structure</a:t>
            </a:r>
            <a:endParaRPr lang="en-GB" sz="1100" b="1" i="0" noProof="0" dirty="0">
              <a:solidFill>
                <a:srgbClr val="00ABAB"/>
              </a:solidFill>
              <a:latin typeface="Calibri" panose="020F0502020204030204" pitchFamily="34" charset="0"/>
              <a:cs typeface="Calibri" panose="020F0502020204030204" pitchFamily="34" charset="0"/>
            </a:endParaRPr>
          </a:p>
        </p:txBody>
      </p:sp>
      <p:sp>
        <p:nvSpPr>
          <p:cNvPr id="33" name="object 29">
            <a:hlinkClick r:id="" action="ppaction://noaction"/>
            <a:extLst>
              <a:ext uri="{FF2B5EF4-FFF2-40B4-BE49-F238E27FC236}">
                <a16:creationId xmlns:a16="http://schemas.microsoft.com/office/drawing/2014/main" id="{A35DBD3A-E1E1-0947-8ADA-E4612182C75D}"/>
              </a:ext>
            </a:extLst>
          </p:cNvPr>
          <p:cNvSpPr txBox="1"/>
          <p:nvPr userDrawn="1"/>
        </p:nvSpPr>
        <p:spPr>
          <a:xfrm>
            <a:off x="10342625" y="2666486"/>
            <a:ext cx="1849996" cy="473705"/>
          </a:xfrm>
          <a:prstGeom prst="rect">
            <a:avLst/>
          </a:prstGeom>
          <a:solidFill>
            <a:schemeClr val="tx1"/>
          </a:solidFill>
        </p:spPr>
        <p:txBody>
          <a:bodyPr vert="horz" wrap="square" lIns="0" tIns="0" rIns="0" bIns="0" rtlCol="0" anchor="ctr" anchorCtr="0">
            <a:noAutofit/>
          </a:bodyPr>
          <a:lstStyle/>
          <a:p>
            <a:pPr marL="179705">
              <a:lnSpc>
                <a:spcPct val="100000"/>
              </a:lnSpc>
              <a:spcBef>
                <a:spcPts val="1185"/>
              </a:spcBef>
            </a:pPr>
            <a:r>
              <a:rPr lang="en-GB" sz="1100" b="1" i="0" spc="-5" noProof="0" dirty="0">
                <a:solidFill>
                  <a:srgbClr val="00A3E0"/>
                </a:solidFill>
                <a:latin typeface="Calibri" panose="020F0502020204030204" pitchFamily="34" charset="0"/>
                <a:cs typeface="Calibri" panose="020F0502020204030204" pitchFamily="34" charset="0"/>
              </a:rPr>
              <a:t>Pricing &amp; investments</a:t>
            </a:r>
            <a:endParaRPr lang="en-GB" sz="1100" b="1" i="0" noProof="0" dirty="0">
              <a:solidFill>
                <a:srgbClr val="00A3E0"/>
              </a:solidFill>
              <a:latin typeface="Calibri" panose="020F0502020204030204" pitchFamily="34" charset="0"/>
              <a:cs typeface="Calibri" panose="020F0502020204030204" pitchFamily="34" charset="0"/>
            </a:endParaRPr>
          </a:p>
        </p:txBody>
      </p:sp>
      <p:sp>
        <p:nvSpPr>
          <p:cNvPr id="34" name="Freeform 88">
            <a:hlinkClick r:id="" action="ppaction://hlinkshowjump?jump=nextslide"/>
            <a:extLst>
              <a:ext uri="{FF2B5EF4-FFF2-40B4-BE49-F238E27FC236}">
                <a16:creationId xmlns:a16="http://schemas.microsoft.com/office/drawing/2014/main" id="{CBBE89F0-8246-9746-8EE5-1DF982D86C99}"/>
              </a:ext>
            </a:extLst>
          </p:cNvPr>
          <p:cNvSpPr>
            <a:spLocks noChangeAspect="1" noEditPoints="1"/>
          </p:cNvSpPr>
          <p:nvPr userDrawn="1"/>
        </p:nvSpPr>
        <p:spPr bwMode="auto">
          <a:xfrm>
            <a:off x="10802378" y="6334181"/>
            <a:ext cx="257932" cy="25793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2 w 512"/>
              <a:gd name="T11" fmla="*/ 416 h 512"/>
              <a:gd name="T12" fmla="*/ 184 w 512"/>
              <a:gd name="T13" fmla="*/ 413 h 512"/>
              <a:gd name="T14" fmla="*/ 184 w 512"/>
              <a:gd name="T15" fmla="*/ 397 h 512"/>
              <a:gd name="T16" fmla="*/ 326 w 512"/>
              <a:gd name="T17" fmla="*/ 256 h 512"/>
              <a:gd name="T18" fmla="*/ 184 w 512"/>
              <a:gd name="T19" fmla="*/ 114 h 512"/>
              <a:gd name="T20" fmla="*/ 184 w 512"/>
              <a:gd name="T21" fmla="*/ 99 h 512"/>
              <a:gd name="T22" fmla="*/ 199 w 512"/>
              <a:gd name="T23" fmla="*/ 99 h 512"/>
              <a:gd name="T24" fmla="*/ 349 w 512"/>
              <a:gd name="T25" fmla="*/ 248 h 512"/>
              <a:gd name="T26" fmla="*/ 349 w 512"/>
              <a:gd name="T27" fmla="*/ 263 h 512"/>
              <a:gd name="T28" fmla="*/ 199 w 512"/>
              <a:gd name="T29" fmla="*/ 413 h 512"/>
              <a:gd name="T30" fmla="*/ 192 w 512"/>
              <a:gd name="T31"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92" y="416"/>
                </a:moveTo>
                <a:cubicBezTo>
                  <a:pt x="189" y="416"/>
                  <a:pt x="186" y="415"/>
                  <a:pt x="184" y="413"/>
                </a:cubicBezTo>
                <a:cubicBezTo>
                  <a:pt x="180" y="408"/>
                  <a:pt x="180" y="402"/>
                  <a:pt x="184" y="397"/>
                </a:cubicBezTo>
                <a:cubicBezTo>
                  <a:pt x="326" y="256"/>
                  <a:pt x="326" y="256"/>
                  <a:pt x="326" y="256"/>
                </a:cubicBezTo>
                <a:cubicBezTo>
                  <a:pt x="184" y="114"/>
                  <a:pt x="184" y="114"/>
                  <a:pt x="184" y="114"/>
                </a:cubicBezTo>
                <a:cubicBezTo>
                  <a:pt x="180" y="110"/>
                  <a:pt x="180" y="103"/>
                  <a:pt x="184" y="99"/>
                </a:cubicBezTo>
                <a:cubicBezTo>
                  <a:pt x="188" y="95"/>
                  <a:pt x="195" y="95"/>
                  <a:pt x="199" y="99"/>
                </a:cubicBezTo>
                <a:cubicBezTo>
                  <a:pt x="349" y="248"/>
                  <a:pt x="349" y="248"/>
                  <a:pt x="349" y="248"/>
                </a:cubicBezTo>
                <a:cubicBezTo>
                  <a:pt x="353" y="252"/>
                  <a:pt x="353" y="259"/>
                  <a:pt x="349" y="263"/>
                </a:cubicBezTo>
                <a:cubicBezTo>
                  <a:pt x="199" y="413"/>
                  <a:pt x="199" y="413"/>
                  <a:pt x="199" y="413"/>
                </a:cubicBezTo>
                <a:cubicBezTo>
                  <a:pt x="197" y="415"/>
                  <a:pt x="194" y="416"/>
                  <a:pt x="192" y="416"/>
                </a:cubicBezTo>
                <a:close/>
              </a:path>
            </a:pathLst>
          </a:custGeom>
          <a:solidFill>
            <a:srgbClr val="97999B"/>
          </a:solidFill>
          <a:ln>
            <a:noFill/>
          </a:ln>
        </p:spPr>
        <p:txBody>
          <a:bodyPr vert="horz" wrap="square" lIns="68580" tIns="34290" rIns="68580" bIns="34290" numCol="1" anchor="t" anchorCtr="0" compatLnSpc="1">
            <a:prstTxWarp prst="textNoShape">
              <a:avLst/>
            </a:prstTxWarp>
          </a:bodyPr>
          <a:lstStyle/>
          <a:p>
            <a:endParaRPr lang="en-GB" sz="1350" noProof="0" dirty="0"/>
          </a:p>
        </p:txBody>
      </p:sp>
      <p:sp>
        <p:nvSpPr>
          <p:cNvPr id="35" name="Freeform 97">
            <a:hlinkClick r:id="" action="ppaction://hlinkshowjump?jump=previousslide"/>
            <a:extLst>
              <a:ext uri="{FF2B5EF4-FFF2-40B4-BE49-F238E27FC236}">
                <a16:creationId xmlns:a16="http://schemas.microsoft.com/office/drawing/2014/main" id="{546F5004-513E-604A-A4A3-1A08227DD851}"/>
              </a:ext>
            </a:extLst>
          </p:cNvPr>
          <p:cNvSpPr>
            <a:spLocks noChangeAspect="1" noEditPoints="1"/>
          </p:cNvSpPr>
          <p:nvPr userDrawn="1"/>
        </p:nvSpPr>
        <p:spPr bwMode="auto">
          <a:xfrm>
            <a:off x="10485132" y="6334180"/>
            <a:ext cx="257176" cy="25793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27 w 512"/>
              <a:gd name="T11" fmla="*/ 397 h 512"/>
              <a:gd name="T12" fmla="*/ 327 w 512"/>
              <a:gd name="T13" fmla="*/ 413 h 512"/>
              <a:gd name="T14" fmla="*/ 320 w 512"/>
              <a:gd name="T15" fmla="*/ 416 h 512"/>
              <a:gd name="T16" fmla="*/ 312 w 512"/>
              <a:gd name="T17" fmla="*/ 413 h 512"/>
              <a:gd name="T18" fmla="*/ 163 w 512"/>
              <a:gd name="T19" fmla="*/ 263 h 512"/>
              <a:gd name="T20" fmla="*/ 163 w 512"/>
              <a:gd name="T21" fmla="*/ 248 h 512"/>
              <a:gd name="T22" fmla="*/ 312 w 512"/>
              <a:gd name="T23" fmla="*/ 99 h 512"/>
              <a:gd name="T24" fmla="*/ 327 w 512"/>
              <a:gd name="T25" fmla="*/ 99 h 512"/>
              <a:gd name="T26" fmla="*/ 327 w 512"/>
              <a:gd name="T27" fmla="*/ 114 h 512"/>
              <a:gd name="T28" fmla="*/ 185 w 512"/>
              <a:gd name="T29" fmla="*/ 256 h 512"/>
              <a:gd name="T30" fmla="*/ 327 w 512"/>
              <a:gd name="T31" fmla="*/ 39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27" y="397"/>
                </a:moveTo>
                <a:cubicBezTo>
                  <a:pt x="331" y="402"/>
                  <a:pt x="331" y="408"/>
                  <a:pt x="327" y="413"/>
                </a:cubicBezTo>
                <a:cubicBezTo>
                  <a:pt x="325" y="415"/>
                  <a:pt x="322" y="416"/>
                  <a:pt x="320" y="416"/>
                </a:cubicBezTo>
                <a:cubicBezTo>
                  <a:pt x="317" y="416"/>
                  <a:pt x="314" y="415"/>
                  <a:pt x="312" y="413"/>
                </a:cubicBezTo>
                <a:cubicBezTo>
                  <a:pt x="163" y="263"/>
                  <a:pt x="163" y="263"/>
                  <a:pt x="163" y="263"/>
                </a:cubicBezTo>
                <a:cubicBezTo>
                  <a:pt x="159" y="259"/>
                  <a:pt x="159" y="252"/>
                  <a:pt x="163" y="248"/>
                </a:cubicBezTo>
                <a:cubicBezTo>
                  <a:pt x="312" y="99"/>
                  <a:pt x="312" y="99"/>
                  <a:pt x="312" y="99"/>
                </a:cubicBezTo>
                <a:cubicBezTo>
                  <a:pt x="316" y="95"/>
                  <a:pt x="323" y="95"/>
                  <a:pt x="327" y="99"/>
                </a:cubicBezTo>
                <a:cubicBezTo>
                  <a:pt x="331" y="103"/>
                  <a:pt x="331" y="110"/>
                  <a:pt x="327" y="114"/>
                </a:cubicBezTo>
                <a:cubicBezTo>
                  <a:pt x="185" y="256"/>
                  <a:pt x="185" y="256"/>
                  <a:pt x="185" y="256"/>
                </a:cubicBezTo>
                <a:lnTo>
                  <a:pt x="327" y="397"/>
                </a:lnTo>
                <a:close/>
              </a:path>
            </a:pathLst>
          </a:custGeom>
          <a:solidFill>
            <a:srgbClr val="97999B"/>
          </a:solidFill>
          <a:ln>
            <a:noFill/>
          </a:ln>
        </p:spPr>
        <p:txBody>
          <a:bodyPr vert="horz" wrap="square" lIns="68580" tIns="34290" rIns="68580" bIns="34290" numCol="1" anchor="t" anchorCtr="0" compatLnSpc="1">
            <a:prstTxWarp prst="textNoShape">
              <a:avLst/>
            </a:prstTxWarp>
          </a:bodyPr>
          <a:lstStyle/>
          <a:p>
            <a:endParaRPr lang="en-GB" sz="1350" noProof="0" dirty="0"/>
          </a:p>
        </p:txBody>
      </p:sp>
      <p:cxnSp>
        <p:nvCxnSpPr>
          <p:cNvPr id="36" name="Straight Connector 35">
            <a:extLst>
              <a:ext uri="{FF2B5EF4-FFF2-40B4-BE49-F238E27FC236}">
                <a16:creationId xmlns:a16="http://schemas.microsoft.com/office/drawing/2014/main" id="{F7E00CDD-7FC8-5E42-B103-CC5266770400}"/>
              </a:ext>
            </a:extLst>
          </p:cNvPr>
          <p:cNvCxnSpPr/>
          <p:nvPr userDrawn="1"/>
        </p:nvCxnSpPr>
        <p:spPr>
          <a:xfrm>
            <a:off x="10342002" y="739591"/>
            <a:ext cx="1849998" cy="0"/>
          </a:xfrm>
          <a:prstGeom prst="line">
            <a:avLst/>
          </a:prstGeom>
          <a:ln>
            <a:solidFill>
              <a:srgbClr val="63666A"/>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2FAD65D-B595-4847-B039-DF84A8C1ED60}"/>
              </a:ext>
            </a:extLst>
          </p:cNvPr>
          <p:cNvCxnSpPr/>
          <p:nvPr userDrawn="1"/>
        </p:nvCxnSpPr>
        <p:spPr>
          <a:xfrm>
            <a:off x="10342001" y="1228996"/>
            <a:ext cx="184999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682F99AA-D794-6249-B989-6F99786A8B33}"/>
              </a:ext>
            </a:extLst>
          </p:cNvPr>
          <p:cNvCxnSpPr/>
          <p:nvPr userDrawn="1"/>
        </p:nvCxnSpPr>
        <p:spPr>
          <a:xfrm>
            <a:off x="10342001" y="1712389"/>
            <a:ext cx="1849998" cy="0"/>
          </a:xfrm>
          <a:prstGeom prst="line">
            <a:avLst/>
          </a:prstGeom>
          <a:ln>
            <a:solidFill>
              <a:srgbClr val="009A44"/>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C781166-2061-D54C-AB8F-2CA4903C70CF}"/>
              </a:ext>
            </a:extLst>
          </p:cNvPr>
          <p:cNvCxnSpPr/>
          <p:nvPr userDrawn="1"/>
        </p:nvCxnSpPr>
        <p:spPr>
          <a:xfrm>
            <a:off x="10342002" y="2196674"/>
            <a:ext cx="1849998" cy="0"/>
          </a:xfrm>
          <a:prstGeom prst="line">
            <a:avLst/>
          </a:prstGeom>
          <a:ln>
            <a:solidFill>
              <a:srgbClr val="00768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D707932-6C70-F643-B2C2-9DECA067BE00}"/>
              </a:ext>
            </a:extLst>
          </p:cNvPr>
          <p:cNvCxnSpPr/>
          <p:nvPr userDrawn="1"/>
        </p:nvCxnSpPr>
        <p:spPr>
          <a:xfrm>
            <a:off x="10342001" y="2669488"/>
            <a:ext cx="1849998" cy="0"/>
          </a:xfrm>
          <a:prstGeom prst="line">
            <a:avLst/>
          </a:prstGeom>
          <a:ln>
            <a:solidFill>
              <a:srgbClr val="00ABAB"/>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44B543DE-D8BA-D74F-ADE9-F82F4838CE68}"/>
              </a:ext>
            </a:extLst>
          </p:cNvPr>
          <p:cNvCxnSpPr/>
          <p:nvPr userDrawn="1"/>
        </p:nvCxnSpPr>
        <p:spPr>
          <a:xfrm>
            <a:off x="10342002" y="3136458"/>
            <a:ext cx="1849998" cy="0"/>
          </a:xfrm>
          <a:prstGeom prst="line">
            <a:avLst/>
          </a:prstGeom>
          <a:ln>
            <a:solidFill>
              <a:srgbClr val="00A3E0"/>
            </a:solidFill>
          </a:ln>
        </p:spPr>
        <p:style>
          <a:lnRef idx="1">
            <a:schemeClr val="accent1"/>
          </a:lnRef>
          <a:fillRef idx="0">
            <a:schemeClr val="accent1"/>
          </a:fillRef>
          <a:effectRef idx="0">
            <a:schemeClr val="accent1"/>
          </a:effectRef>
          <a:fontRef idx="minor">
            <a:schemeClr val="tx1"/>
          </a:fontRef>
        </p:style>
      </p:cxnSp>
      <p:sp>
        <p:nvSpPr>
          <p:cNvPr id="42" name="object 18">
            <a:extLst>
              <a:ext uri="{FF2B5EF4-FFF2-40B4-BE49-F238E27FC236}">
                <a16:creationId xmlns:a16="http://schemas.microsoft.com/office/drawing/2014/main" id="{2D41E87E-0132-BE45-A10F-980C76802EE8}"/>
              </a:ext>
            </a:extLst>
          </p:cNvPr>
          <p:cNvSpPr/>
          <p:nvPr userDrawn="1"/>
        </p:nvSpPr>
        <p:spPr>
          <a:xfrm>
            <a:off x="10153418" y="3618564"/>
            <a:ext cx="191135" cy="191135"/>
          </a:xfrm>
          <a:custGeom>
            <a:avLst/>
            <a:gdLst/>
            <a:ahLst/>
            <a:cxnLst/>
            <a:rect l="l" t="t" r="r" b="b"/>
            <a:pathLst>
              <a:path w="191134" h="191134">
                <a:moveTo>
                  <a:pt x="190512" y="0"/>
                </a:moveTo>
                <a:lnTo>
                  <a:pt x="0" y="0"/>
                </a:lnTo>
                <a:lnTo>
                  <a:pt x="190512" y="190512"/>
                </a:lnTo>
                <a:lnTo>
                  <a:pt x="190512" y="0"/>
                </a:lnTo>
                <a:close/>
              </a:path>
            </a:pathLst>
          </a:custGeom>
          <a:solidFill>
            <a:schemeClr val="tx1">
              <a:lumMod val="65000"/>
              <a:lumOff val="35000"/>
            </a:schemeClr>
          </a:solidFill>
          <a:ln>
            <a:noFill/>
          </a:ln>
        </p:spPr>
        <p:txBody>
          <a:bodyPr wrap="square" lIns="0" tIns="0" rIns="0" bIns="0" rtlCol="0"/>
          <a:lstStyle/>
          <a:p>
            <a:endParaRPr lang="en-GB" noProof="0" dirty="0"/>
          </a:p>
        </p:txBody>
      </p:sp>
      <p:sp>
        <p:nvSpPr>
          <p:cNvPr id="43" name="TextBox 42">
            <a:extLst>
              <a:ext uri="{FF2B5EF4-FFF2-40B4-BE49-F238E27FC236}">
                <a16:creationId xmlns:a16="http://schemas.microsoft.com/office/drawing/2014/main" id="{C8398007-BF1A-6841-9C81-062F45D8F2C0}"/>
              </a:ext>
            </a:extLst>
          </p:cNvPr>
          <p:cNvSpPr txBox="1"/>
          <p:nvPr userDrawn="1"/>
        </p:nvSpPr>
        <p:spPr>
          <a:xfrm>
            <a:off x="11620501" y="6411115"/>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GB" sz="800" noProof="0" dirty="0">
              <a:solidFill>
                <a:schemeClr val="bg1"/>
              </a:solidFill>
              <a:latin typeface="Calibri" panose="020F0502020204030204" pitchFamily="34" charset="0"/>
              <a:cs typeface="Calibri" panose="020F0502020204030204" pitchFamily="34" charset="0"/>
            </a:endParaRPr>
          </a:p>
        </p:txBody>
      </p:sp>
      <p:sp>
        <p:nvSpPr>
          <p:cNvPr id="44" name="Rectangle 43">
            <a:extLst>
              <a:ext uri="{FF2B5EF4-FFF2-40B4-BE49-F238E27FC236}">
                <a16:creationId xmlns:a16="http://schemas.microsoft.com/office/drawing/2014/main" id="{26ACDFBA-3B11-3D43-B040-2FE9C14B89D0}"/>
              </a:ext>
            </a:extLst>
          </p:cNvPr>
          <p:cNvSpPr/>
          <p:nvPr userDrawn="1"/>
        </p:nvSpPr>
        <p:spPr>
          <a:xfrm>
            <a:off x="11170818" y="6381701"/>
            <a:ext cx="424282" cy="169277"/>
          </a:xfrm>
          <a:prstGeom prst="rect">
            <a:avLst/>
          </a:prstGeom>
        </p:spPr>
        <p:txBody>
          <a:bodyPr wrap="square" lIns="0" tIns="0" rIns="0" bIns="0">
            <a:spAutoFit/>
          </a:bodyPr>
          <a:lstStyle/>
          <a:p>
            <a:pPr marL="12700">
              <a:spcBef>
                <a:spcPts val="175"/>
              </a:spcBef>
            </a:pPr>
            <a:r>
              <a:rPr lang="en-GB" sz="1100" b="0" i="0" spc="-20" noProof="0" dirty="0">
                <a:solidFill>
                  <a:srgbClr val="97999B"/>
                </a:solidFill>
                <a:latin typeface="Calibri" panose="020F0502020204030204" pitchFamily="34" charset="0"/>
                <a:cs typeface="Calibri" panose="020F0502020204030204" pitchFamily="34" charset="0"/>
              </a:rPr>
              <a:t>N</a:t>
            </a:r>
            <a:r>
              <a:rPr lang="en-GB" sz="1100" b="0" i="0" spc="-5" noProof="0" dirty="0">
                <a:solidFill>
                  <a:srgbClr val="97999B"/>
                </a:solidFill>
                <a:latin typeface="Calibri" panose="020F0502020204030204" pitchFamily="34" charset="0"/>
                <a:cs typeface="Calibri" panose="020F0502020204030204" pitchFamily="34" charset="0"/>
              </a:rPr>
              <a:t>e</a:t>
            </a:r>
            <a:r>
              <a:rPr lang="en-GB" sz="1100" b="0" i="0" spc="15" noProof="0" dirty="0">
                <a:solidFill>
                  <a:srgbClr val="97999B"/>
                </a:solidFill>
                <a:latin typeface="Calibri" panose="020F0502020204030204" pitchFamily="34" charset="0"/>
                <a:cs typeface="Calibri" panose="020F0502020204030204" pitchFamily="34" charset="0"/>
              </a:rPr>
              <a:t>x</a:t>
            </a:r>
            <a:r>
              <a:rPr lang="en-GB" sz="1100" b="0" i="0" spc="-10" noProof="0" dirty="0">
                <a:solidFill>
                  <a:srgbClr val="97999B"/>
                </a:solidFill>
                <a:latin typeface="Calibri" panose="020F0502020204030204" pitchFamily="34" charset="0"/>
                <a:cs typeface="Calibri" panose="020F0502020204030204" pitchFamily="34" charset="0"/>
              </a:rPr>
              <a:t>t</a:t>
            </a:r>
          </a:p>
        </p:txBody>
      </p:sp>
      <p:sp>
        <p:nvSpPr>
          <p:cNvPr id="45" name="object 25">
            <a:hlinkClick r:id="" action="ppaction://noaction"/>
            <a:extLst>
              <a:ext uri="{FF2B5EF4-FFF2-40B4-BE49-F238E27FC236}">
                <a16:creationId xmlns:a16="http://schemas.microsoft.com/office/drawing/2014/main" id="{9333CCB2-698E-5943-83F1-5FC6CEC54647}"/>
              </a:ext>
            </a:extLst>
          </p:cNvPr>
          <p:cNvSpPr txBox="1"/>
          <p:nvPr userDrawn="1"/>
        </p:nvSpPr>
        <p:spPr>
          <a:xfrm>
            <a:off x="10342625" y="3147862"/>
            <a:ext cx="1849996" cy="473707"/>
          </a:xfrm>
          <a:prstGeom prst="rect">
            <a:avLst/>
          </a:prstGeom>
          <a:solidFill>
            <a:schemeClr val="tx1"/>
          </a:solidFill>
        </p:spPr>
        <p:txBody>
          <a:bodyPr vert="horz" wrap="square" lIns="0" tIns="0" rIns="0" bIns="0" rtlCol="0" anchor="ctr" anchorCtr="0">
            <a:noAutofit/>
          </a:bodyPr>
          <a:lstStyle/>
          <a:p>
            <a:pPr marL="179705">
              <a:lnSpc>
                <a:spcPct val="100000"/>
              </a:lnSpc>
              <a:spcBef>
                <a:spcPts val="1185"/>
              </a:spcBef>
            </a:pPr>
            <a:r>
              <a:rPr lang="en-GB" sz="1100" b="1" i="0" spc="-5" noProof="0" dirty="0">
                <a:solidFill>
                  <a:srgbClr val="0076A8"/>
                </a:solidFill>
                <a:latin typeface="Calibri" panose="020F0502020204030204" pitchFamily="34" charset="0"/>
                <a:cs typeface="Calibri" panose="020F0502020204030204" pitchFamily="34" charset="0"/>
              </a:rPr>
              <a:t>Summary</a:t>
            </a:r>
          </a:p>
        </p:txBody>
      </p:sp>
      <p:sp>
        <p:nvSpPr>
          <p:cNvPr id="46" name="object 26">
            <a:hlinkClick r:id="" action="ppaction://noaction"/>
            <a:extLst>
              <a:ext uri="{FF2B5EF4-FFF2-40B4-BE49-F238E27FC236}">
                <a16:creationId xmlns:a16="http://schemas.microsoft.com/office/drawing/2014/main" id="{F2D21AD1-99A6-9340-8A55-A2139AC13812}"/>
              </a:ext>
            </a:extLst>
          </p:cNvPr>
          <p:cNvSpPr txBox="1"/>
          <p:nvPr userDrawn="1"/>
        </p:nvSpPr>
        <p:spPr>
          <a:xfrm>
            <a:off x="10342625" y="3618565"/>
            <a:ext cx="1849996" cy="473707"/>
          </a:xfrm>
          <a:prstGeom prst="rect">
            <a:avLst/>
          </a:prstGeom>
          <a:solidFill>
            <a:schemeClr val="tx1">
              <a:lumMod val="65000"/>
              <a:lumOff val="35000"/>
            </a:schemeClr>
          </a:solidFill>
        </p:spPr>
        <p:txBody>
          <a:bodyPr vert="horz" wrap="square" lIns="0" tIns="0" rIns="0" bIns="0" rtlCol="0" anchor="ctr" anchorCtr="0">
            <a:noAutofit/>
          </a:bodyPr>
          <a:lstStyle/>
          <a:p>
            <a:pPr marL="179705">
              <a:lnSpc>
                <a:spcPct val="100000"/>
              </a:lnSpc>
              <a:spcBef>
                <a:spcPts val="1185"/>
              </a:spcBef>
            </a:pPr>
            <a:r>
              <a:rPr lang="en-GB" sz="1100" b="1" i="0" spc="15" noProof="0" dirty="0">
                <a:solidFill>
                  <a:schemeClr val="bg1"/>
                </a:solidFill>
                <a:latin typeface="Calibri" panose="020F0502020204030204" pitchFamily="34" charset="0"/>
                <a:cs typeface="Calibri" panose="020F0502020204030204" pitchFamily="34" charset="0"/>
              </a:rPr>
              <a:t>Appendix</a:t>
            </a:r>
            <a:endParaRPr lang="en-GB" sz="1100" b="1" i="0" noProof="0" dirty="0">
              <a:solidFill>
                <a:schemeClr val="bg1"/>
              </a:solidFill>
              <a:latin typeface="Calibri" panose="020F0502020204030204" pitchFamily="34" charset="0"/>
              <a:cs typeface="Calibri" panose="020F0502020204030204" pitchFamily="34" charset="0"/>
            </a:endParaRPr>
          </a:p>
        </p:txBody>
      </p:sp>
      <p:cxnSp>
        <p:nvCxnSpPr>
          <p:cNvPr id="47" name="Straight Connector 46">
            <a:extLst>
              <a:ext uri="{FF2B5EF4-FFF2-40B4-BE49-F238E27FC236}">
                <a16:creationId xmlns:a16="http://schemas.microsoft.com/office/drawing/2014/main" id="{74ED11F3-18A6-744B-9C52-CFAFD80CEC60}"/>
              </a:ext>
            </a:extLst>
          </p:cNvPr>
          <p:cNvCxnSpPr/>
          <p:nvPr userDrawn="1"/>
        </p:nvCxnSpPr>
        <p:spPr>
          <a:xfrm>
            <a:off x="10340756" y="3619458"/>
            <a:ext cx="1849998" cy="0"/>
          </a:xfrm>
          <a:prstGeom prst="line">
            <a:avLst/>
          </a:prstGeom>
          <a:ln>
            <a:solidFill>
              <a:srgbClr val="0076A8"/>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67C6AD7-9185-E247-8DDF-B461D7C049E4}"/>
              </a:ext>
            </a:extLst>
          </p:cNvPr>
          <p:cNvCxnSpPr/>
          <p:nvPr userDrawn="1"/>
        </p:nvCxnSpPr>
        <p:spPr>
          <a:xfrm>
            <a:off x="10340755" y="4092272"/>
            <a:ext cx="1849998" cy="0"/>
          </a:xfrm>
          <a:prstGeom prst="line">
            <a:avLst/>
          </a:prstGeom>
          <a:ln>
            <a:solidFill>
              <a:srgbClr val="97999B"/>
            </a:solidFill>
          </a:ln>
        </p:spPr>
        <p:style>
          <a:lnRef idx="1">
            <a:schemeClr val="accent1"/>
          </a:lnRef>
          <a:fillRef idx="0">
            <a:schemeClr val="accent1"/>
          </a:fillRef>
          <a:effectRef idx="0">
            <a:schemeClr val="accent1"/>
          </a:effectRef>
          <a:fontRef idx="minor">
            <a:schemeClr val="tx1"/>
          </a:fontRef>
        </p:style>
      </p:cxnSp>
      <p:pic>
        <p:nvPicPr>
          <p:cNvPr id="49" name="Graphic 48">
            <a:extLst>
              <a:ext uri="{FF2B5EF4-FFF2-40B4-BE49-F238E27FC236}">
                <a16:creationId xmlns:a16="http://schemas.microsoft.com/office/drawing/2014/main" id="{39E0F5AA-BD93-1649-9744-B1812B8A8D90}"/>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t="1" r="43259" b="-6639"/>
          <a:stretch/>
        </p:blipFill>
        <p:spPr>
          <a:xfrm>
            <a:off x="10726753" y="5336859"/>
            <a:ext cx="1448445" cy="528181"/>
          </a:xfrm>
          <a:prstGeom prst="rect">
            <a:avLst/>
          </a:prstGeom>
        </p:spPr>
      </p:pic>
      <p:pic>
        <p:nvPicPr>
          <p:cNvPr id="50" name="Graphic 49">
            <a:extLst>
              <a:ext uri="{FF2B5EF4-FFF2-40B4-BE49-F238E27FC236}">
                <a16:creationId xmlns:a16="http://schemas.microsoft.com/office/drawing/2014/main" id="{29BAB662-7200-484B-A963-71E63B493C5D}"/>
              </a:ext>
            </a:extLst>
          </p:cNvPr>
          <p:cNvPicPr>
            <a:picLocks noChangeAspect="1"/>
          </p:cNvPicPr>
          <p:nvPr userDrawn="1"/>
        </p:nvPicPr>
        <p:blipFill rotWithShape="1">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l="39582"/>
          <a:stretch/>
        </p:blipFill>
        <p:spPr>
          <a:xfrm>
            <a:off x="10338886" y="4209750"/>
            <a:ext cx="463491" cy="373205"/>
          </a:xfrm>
          <a:prstGeom prst="rect">
            <a:avLst/>
          </a:prstGeom>
        </p:spPr>
      </p:pic>
      <p:pic>
        <p:nvPicPr>
          <p:cNvPr id="51" name="Picture 50">
            <a:extLst>
              <a:ext uri="{FF2B5EF4-FFF2-40B4-BE49-F238E27FC236}">
                <a16:creationId xmlns:a16="http://schemas.microsoft.com/office/drawing/2014/main" id="{5403CEF8-0F9A-934A-9BD5-BE0DC96FD5C5}"/>
              </a:ext>
            </a:extLst>
          </p:cNvPr>
          <p:cNvPicPr>
            <a:picLocks noChangeAspect="1"/>
          </p:cNvPicPr>
          <p:nvPr userDrawn="1"/>
        </p:nvPicPr>
        <p:blipFill rotWithShape="1">
          <a:blip r:embed="rId6" cstate="print">
            <a:alphaModFix amt="35000"/>
            <a:extLst>
              <a:ext uri="{28A0092B-C50C-407E-A947-70E740481C1C}">
                <a14:useLocalDpi xmlns:a14="http://schemas.microsoft.com/office/drawing/2010/main"/>
              </a:ext>
            </a:extLst>
          </a:blip>
          <a:srcRect/>
          <a:stretch/>
        </p:blipFill>
        <p:spPr>
          <a:xfrm>
            <a:off x="10338887" y="3941129"/>
            <a:ext cx="1477370" cy="2650822"/>
          </a:xfrm>
          <a:prstGeom prst="rect">
            <a:avLst/>
          </a:prstGeom>
        </p:spPr>
      </p:pic>
      <p:pic>
        <p:nvPicPr>
          <p:cNvPr id="52" name="Graphic 51">
            <a:extLst>
              <a:ext uri="{FF2B5EF4-FFF2-40B4-BE49-F238E27FC236}">
                <a16:creationId xmlns:a16="http://schemas.microsoft.com/office/drawing/2014/main" id="{35B18A32-25ED-D54A-B20F-75FA57B51B34}"/>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r="46923"/>
          <a:stretch/>
        </p:blipFill>
        <p:spPr>
          <a:xfrm>
            <a:off x="11902148" y="4582955"/>
            <a:ext cx="289852" cy="228600"/>
          </a:xfrm>
          <a:prstGeom prst="rect">
            <a:avLst/>
          </a:prstGeom>
        </p:spPr>
      </p:pic>
      <p:pic>
        <p:nvPicPr>
          <p:cNvPr id="53" name="Graphic 52">
            <a:extLst>
              <a:ext uri="{FF2B5EF4-FFF2-40B4-BE49-F238E27FC236}">
                <a16:creationId xmlns:a16="http://schemas.microsoft.com/office/drawing/2014/main" id="{5982228D-8F40-8C4B-92F9-26C666436FE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1602812" y="5840146"/>
            <a:ext cx="508000" cy="165100"/>
          </a:xfrm>
          <a:prstGeom prst="rect">
            <a:avLst/>
          </a:prstGeom>
        </p:spPr>
      </p:pic>
      <p:cxnSp>
        <p:nvCxnSpPr>
          <p:cNvPr id="54" name="Straight Connector 53">
            <a:extLst>
              <a:ext uri="{FF2B5EF4-FFF2-40B4-BE49-F238E27FC236}">
                <a16:creationId xmlns:a16="http://schemas.microsoft.com/office/drawing/2014/main" id="{AC3F8FB5-8134-4396-A207-AB1C01CC642A}"/>
              </a:ext>
            </a:extLst>
          </p:cNvPr>
          <p:cNvCxnSpPr>
            <a:cxnSpLocks/>
          </p:cNvCxnSpPr>
          <p:nvPr userDrawn="1"/>
        </p:nvCxnSpPr>
        <p:spPr>
          <a:xfrm>
            <a:off x="3332161" y="1348917"/>
            <a:ext cx="264001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1BEA62C-0DBC-43F3-9398-55BF6EB29DEF}"/>
              </a:ext>
            </a:extLst>
          </p:cNvPr>
          <p:cNvCxnSpPr>
            <a:cxnSpLocks/>
          </p:cNvCxnSpPr>
          <p:nvPr userDrawn="1"/>
        </p:nvCxnSpPr>
        <p:spPr>
          <a:xfrm>
            <a:off x="6207123" y="1348917"/>
            <a:ext cx="264001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6" name="object 50">
            <a:extLst>
              <a:ext uri="{FF2B5EF4-FFF2-40B4-BE49-F238E27FC236}">
                <a16:creationId xmlns:a16="http://schemas.microsoft.com/office/drawing/2014/main" id="{D9D3E0A9-890F-49F5-8B48-94D04853FA1C}"/>
              </a:ext>
            </a:extLst>
          </p:cNvPr>
          <p:cNvSpPr txBox="1"/>
          <p:nvPr userDrawn="1"/>
        </p:nvSpPr>
        <p:spPr>
          <a:xfrm>
            <a:off x="469900" y="2645929"/>
            <a:ext cx="2687116" cy="164276"/>
          </a:xfrm>
          <a:prstGeom prst="rect">
            <a:avLst/>
          </a:prstGeom>
        </p:spPr>
        <p:txBody>
          <a:bodyPr vert="horz" wrap="square" lIns="0" tIns="0" rIns="0" bIns="0" rtlCol="0">
            <a:spAutoFit/>
          </a:bodyPr>
          <a:lstStyle/>
          <a:p>
            <a:pPr marR="43180">
              <a:lnSpc>
                <a:spcPct val="113100"/>
              </a:lnSpc>
              <a:spcBef>
                <a:spcPts val="100"/>
              </a:spcBef>
            </a:pPr>
            <a:r>
              <a:rPr lang="en-GB" sz="1000" b="1" spc="-10" noProof="0" dirty="0">
                <a:solidFill>
                  <a:srgbClr val="00A3E0"/>
                </a:solidFill>
                <a:latin typeface="Calibri" panose="020F0502020204030204" pitchFamily="34" charset="0"/>
                <a:cs typeface="Calibri" panose="020F0502020204030204" pitchFamily="34" charset="0"/>
              </a:rPr>
              <a:t>Role and specialism</a:t>
            </a:r>
          </a:p>
        </p:txBody>
      </p:sp>
      <p:sp>
        <p:nvSpPr>
          <p:cNvPr id="57" name="object 50">
            <a:extLst>
              <a:ext uri="{FF2B5EF4-FFF2-40B4-BE49-F238E27FC236}">
                <a16:creationId xmlns:a16="http://schemas.microsoft.com/office/drawing/2014/main" id="{B7AFC369-E280-47E3-83E8-1A7AD62FBC1A}"/>
              </a:ext>
            </a:extLst>
          </p:cNvPr>
          <p:cNvSpPr txBox="1"/>
          <p:nvPr userDrawn="1"/>
        </p:nvSpPr>
        <p:spPr>
          <a:xfrm>
            <a:off x="469900" y="4002660"/>
            <a:ext cx="2640013" cy="164276"/>
          </a:xfrm>
          <a:prstGeom prst="rect">
            <a:avLst/>
          </a:prstGeom>
        </p:spPr>
        <p:txBody>
          <a:bodyPr vert="horz" wrap="square" lIns="0" tIns="0" rIns="0" bIns="0" rtlCol="0">
            <a:spAutoFit/>
          </a:bodyPr>
          <a:lstStyle/>
          <a:p>
            <a:pPr marR="43180">
              <a:lnSpc>
                <a:spcPct val="113100"/>
              </a:lnSpc>
              <a:spcBef>
                <a:spcPts val="100"/>
              </a:spcBef>
            </a:pPr>
            <a:r>
              <a:rPr lang="en-GB" sz="1000" b="1" spc="-10" noProof="0" dirty="0">
                <a:solidFill>
                  <a:srgbClr val="00A3E0"/>
                </a:solidFill>
                <a:latin typeface="Calibri" panose="020F0502020204030204" pitchFamily="34" charset="0"/>
                <a:cs typeface="Calibri" panose="020F0502020204030204" pitchFamily="34" charset="0"/>
              </a:rPr>
              <a:t>Relevant experience</a:t>
            </a:r>
          </a:p>
        </p:txBody>
      </p:sp>
      <p:cxnSp>
        <p:nvCxnSpPr>
          <p:cNvPr id="58" name="Straight Connector 57">
            <a:extLst>
              <a:ext uri="{FF2B5EF4-FFF2-40B4-BE49-F238E27FC236}">
                <a16:creationId xmlns:a16="http://schemas.microsoft.com/office/drawing/2014/main" id="{57318620-73F1-410A-960D-B429138041B9}"/>
              </a:ext>
            </a:extLst>
          </p:cNvPr>
          <p:cNvCxnSpPr>
            <a:cxnSpLocks/>
          </p:cNvCxnSpPr>
          <p:nvPr userDrawn="1"/>
        </p:nvCxnSpPr>
        <p:spPr>
          <a:xfrm>
            <a:off x="469900" y="2814200"/>
            <a:ext cx="2640014" cy="0"/>
          </a:xfrm>
          <a:prstGeom prst="line">
            <a:avLst/>
          </a:prstGeom>
          <a:ln>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B5851B53-4B18-4DAF-A782-F88526B4E0A6}"/>
              </a:ext>
            </a:extLst>
          </p:cNvPr>
          <p:cNvCxnSpPr>
            <a:cxnSpLocks/>
          </p:cNvCxnSpPr>
          <p:nvPr userDrawn="1"/>
        </p:nvCxnSpPr>
        <p:spPr>
          <a:xfrm>
            <a:off x="469900" y="4172452"/>
            <a:ext cx="2640014" cy="0"/>
          </a:xfrm>
          <a:prstGeom prst="line">
            <a:avLst/>
          </a:prstGeom>
          <a:ln>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F7E0F23-3645-4697-B000-A1B9F06512F6}"/>
              </a:ext>
            </a:extLst>
          </p:cNvPr>
          <p:cNvCxnSpPr>
            <a:cxnSpLocks/>
          </p:cNvCxnSpPr>
          <p:nvPr userDrawn="1"/>
        </p:nvCxnSpPr>
        <p:spPr>
          <a:xfrm>
            <a:off x="469900" y="1348917"/>
            <a:ext cx="2640014"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1" name="Picture Placeholder 31">
            <a:extLst>
              <a:ext uri="{FF2B5EF4-FFF2-40B4-BE49-F238E27FC236}">
                <a16:creationId xmlns:a16="http://schemas.microsoft.com/office/drawing/2014/main" id="{E6A8345F-8A2F-4228-8ABC-684BA24B5D5C}"/>
              </a:ext>
            </a:extLst>
          </p:cNvPr>
          <p:cNvSpPr>
            <a:spLocks noGrp="1"/>
          </p:cNvSpPr>
          <p:nvPr>
            <p:ph type="pic" sz="quarter" idx="10"/>
          </p:nvPr>
        </p:nvSpPr>
        <p:spPr>
          <a:xfrm>
            <a:off x="469900" y="1540223"/>
            <a:ext cx="914400" cy="914400"/>
          </a:xfrm>
          <a:prstGeom prst="ellipse">
            <a:avLst/>
          </a:prstGeom>
        </p:spPr>
        <p:txBody>
          <a:bodyPr/>
          <a:lstStyle/>
          <a:p>
            <a:endParaRPr lang="en-GB" noProof="0"/>
          </a:p>
        </p:txBody>
      </p:sp>
      <p:sp>
        <p:nvSpPr>
          <p:cNvPr id="62" name="Text Placeholder 33">
            <a:extLst>
              <a:ext uri="{FF2B5EF4-FFF2-40B4-BE49-F238E27FC236}">
                <a16:creationId xmlns:a16="http://schemas.microsoft.com/office/drawing/2014/main" id="{266D087F-A861-4461-8931-67375E821C45}"/>
              </a:ext>
            </a:extLst>
          </p:cNvPr>
          <p:cNvSpPr>
            <a:spLocks noGrp="1"/>
          </p:cNvSpPr>
          <p:nvPr>
            <p:ph type="body" sz="quarter" idx="11" hasCustomPrompt="1"/>
          </p:nvPr>
        </p:nvSpPr>
        <p:spPr>
          <a:xfrm>
            <a:off x="1600823" y="1792370"/>
            <a:ext cx="1425575" cy="409055"/>
          </a:xfrm>
        </p:spPr>
        <p:txBody>
          <a:bodyPr anchor="ctr"/>
          <a:lstStyle/>
          <a:p>
            <a:pPr marL="12700">
              <a:lnSpc>
                <a:spcPct val="100000"/>
              </a:lnSpc>
              <a:spcBef>
                <a:spcPts val="100"/>
              </a:spcBef>
            </a:pPr>
            <a:r>
              <a:rPr lang="en-GB" sz="1200" b="1" spc="-40" noProof="0" dirty="0">
                <a:solidFill>
                  <a:srgbClr val="86BC25"/>
                </a:solidFill>
                <a:latin typeface="Calibri" panose="020F0502020204030204" pitchFamily="34" charset="0"/>
                <a:cs typeface="Calibri" panose="020F0502020204030204" pitchFamily="34" charset="0"/>
              </a:rPr>
              <a:t>[Name]</a:t>
            </a:r>
            <a:br>
              <a:rPr lang="en-GB" sz="1200" b="1" spc="-40" noProof="0" dirty="0">
                <a:solidFill>
                  <a:srgbClr val="86BC25"/>
                </a:solidFill>
                <a:latin typeface="Calibri" panose="020F0502020204030204" pitchFamily="34" charset="0"/>
                <a:cs typeface="Calibri" panose="020F0502020204030204" pitchFamily="34" charset="0"/>
              </a:rPr>
            </a:br>
            <a:r>
              <a:rPr lang="en-GB" sz="1200" b="1" spc="-40" noProof="0" dirty="0">
                <a:latin typeface="Calibri" panose="020F0502020204030204" pitchFamily="34" charset="0"/>
                <a:cs typeface="Calibri" panose="020F0502020204030204" pitchFamily="34" charset="0"/>
              </a:rPr>
              <a:t>[Title]</a:t>
            </a:r>
            <a:endParaRPr lang="en-GB" sz="1200" b="1" noProof="0" dirty="0">
              <a:latin typeface="Calibri" panose="020F0502020204030204" pitchFamily="34" charset="0"/>
              <a:cs typeface="Calibri" panose="020F0502020204030204" pitchFamily="34" charset="0"/>
            </a:endParaRPr>
          </a:p>
        </p:txBody>
      </p:sp>
      <p:sp>
        <p:nvSpPr>
          <p:cNvPr id="63" name="Text Placeholder 35">
            <a:extLst>
              <a:ext uri="{FF2B5EF4-FFF2-40B4-BE49-F238E27FC236}">
                <a16:creationId xmlns:a16="http://schemas.microsoft.com/office/drawing/2014/main" id="{5DAE1612-AB64-44C9-B772-7BCEE0082BF5}"/>
              </a:ext>
            </a:extLst>
          </p:cNvPr>
          <p:cNvSpPr>
            <a:spLocks noGrp="1"/>
          </p:cNvSpPr>
          <p:nvPr>
            <p:ph type="body" sz="quarter" idx="12" hasCustomPrompt="1"/>
          </p:nvPr>
        </p:nvSpPr>
        <p:spPr>
          <a:xfrm>
            <a:off x="457199" y="2898075"/>
            <a:ext cx="2652713" cy="968312"/>
          </a:xfrm>
        </p:spPr>
        <p:txBody>
          <a:bodyPr>
            <a:normAutofit/>
          </a:bodyPr>
          <a:lstStyle>
            <a:lvl1pPr>
              <a:defRPr sz="800">
                <a:latin typeface="Calibri" panose="020F0502020204030204" pitchFamily="34" charset="0"/>
                <a:cs typeface="Calibri" panose="020F0502020204030204" pitchFamily="34" charset="0"/>
              </a:defRPr>
            </a:lvl1pPr>
            <a:lvl2pPr>
              <a:defRPr sz="1050">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1050">
                <a:latin typeface="Calibri" panose="020F0502020204030204" pitchFamily="34" charset="0"/>
                <a:cs typeface="Calibri" panose="020F0502020204030204" pitchFamily="34" charset="0"/>
              </a:defRPr>
            </a:lvl4pPr>
            <a:lvl5pPr>
              <a:defRPr sz="1050">
                <a:latin typeface="Calibri" panose="020F0502020204030204" pitchFamily="34" charset="0"/>
                <a:cs typeface="Calibri" panose="020F0502020204030204" pitchFamily="34" charset="0"/>
              </a:defRPr>
            </a:lvl5pPr>
          </a:lstStyle>
          <a:p>
            <a:pPr lvl="0"/>
            <a:r>
              <a:rPr lang="en-GB" noProof="0" dirty="0" err="1"/>
              <a:t>Vivamus</a:t>
            </a:r>
            <a:r>
              <a:rPr lang="en-GB" noProof="0" dirty="0"/>
              <a:t> integer non </a:t>
            </a:r>
            <a:r>
              <a:rPr lang="en-GB" noProof="0" dirty="0" err="1"/>
              <a:t>suscipit</a:t>
            </a:r>
            <a:r>
              <a:rPr lang="en-GB" noProof="0" dirty="0"/>
              <a:t> </a:t>
            </a:r>
            <a:r>
              <a:rPr lang="en-GB" noProof="0" dirty="0" err="1"/>
              <a:t>taciti</a:t>
            </a:r>
            <a:r>
              <a:rPr lang="en-GB" noProof="0" dirty="0"/>
              <a:t> </a:t>
            </a:r>
            <a:r>
              <a:rPr lang="en-GB" noProof="0" dirty="0" err="1"/>
              <a:t>mus</a:t>
            </a:r>
            <a:r>
              <a:rPr lang="en-GB" noProof="0" dirty="0"/>
              <a:t> </a:t>
            </a:r>
            <a:r>
              <a:rPr lang="en-GB" noProof="0" dirty="0" err="1"/>
              <a:t>etiam</a:t>
            </a:r>
            <a:r>
              <a:rPr lang="en-GB" noProof="0" dirty="0"/>
              <a:t> at </a:t>
            </a:r>
            <a:r>
              <a:rPr lang="en-GB" noProof="0" dirty="0" err="1"/>
              <a:t>primis</a:t>
            </a:r>
            <a:r>
              <a:rPr lang="en-GB" noProof="0" dirty="0"/>
              <a:t> </a:t>
            </a:r>
            <a:r>
              <a:rPr lang="en-GB" noProof="0" dirty="0" err="1"/>
              <a:t>tempor</a:t>
            </a:r>
            <a:r>
              <a:rPr lang="en-GB" noProof="0" dirty="0"/>
              <a:t> </a:t>
            </a:r>
            <a:r>
              <a:rPr lang="en-GB" noProof="0" dirty="0" err="1"/>
              <a:t>sagittis</a:t>
            </a:r>
            <a:r>
              <a:rPr lang="en-GB" noProof="0" dirty="0"/>
              <a:t> sit, </a:t>
            </a:r>
            <a:r>
              <a:rPr lang="en-GB" noProof="0" dirty="0" err="1"/>
              <a:t>euismod</a:t>
            </a:r>
            <a:r>
              <a:rPr lang="en-GB" noProof="0" dirty="0"/>
              <a:t> libero </a:t>
            </a:r>
            <a:r>
              <a:rPr lang="en-GB" noProof="0" dirty="0" err="1"/>
              <a:t>facilisi</a:t>
            </a:r>
            <a:r>
              <a:rPr lang="en-GB" noProof="0" dirty="0"/>
              <a:t> </a:t>
            </a:r>
            <a:r>
              <a:rPr lang="en-GB" noProof="0" dirty="0" err="1"/>
              <a:t>aptent</a:t>
            </a:r>
            <a:r>
              <a:rPr lang="en-GB" noProof="0" dirty="0"/>
              <a:t> </a:t>
            </a:r>
            <a:r>
              <a:rPr lang="en-GB" noProof="0" dirty="0" err="1"/>
              <a:t>elementum</a:t>
            </a:r>
            <a:r>
              <a:rPr lang="en-GB" noProof="0" dirty="0"/>
              <a:t> </a:t>
            </a:r>
            <a:r>
              <a:rPr lang="en-GB" noProof="0" dirty="0" err="1"/>
              <a:t>felis</a:t>
            </a:r>
            <a:r>
              <a:rPr lang="en-GB" noProof="0" dirty="0"/>
              <a:t> </a:t>
            </a:r>
            <a:r>
              <a:rPr lang="en-GB" noProof="0" dirty="0" err="1"/>
              <a:t>blandit</a:t>
            </a:r>
            <a:r>
              <a:rPr lang="en-GB" noProof="0" dirty="0"/>
              <a:t> cursus gravida sociis.</a:t>
            </a:r>
          </a:p>
        </p:txBody>
      </p:sp>
      <p:sp>
        <p:nvSpPr>
          <p:cNvPr id="64" name="Text Placeholder 35">
            <a:extLst>
              <a:ext uri="{FF2B5EF4-FFF2-40B4-BE49-F238E27FC236}">
                <a16:creationId xmlns:a16="http://schemas.microsoft.com/office/drawing/2014/main" id="{C4EA4949-AF4F-4AEC-8D1D-3E27751C5321}"/>
              </a:ext>
            </a:extLst>
          </p:cNvPr>
          <p:cNvSpPr>
            <a:spLocks noGrp="1"/>
          </p:cNvSpPr>
          <p:nvPr>
            <p:ph type="body" sz="quarter" idx="13" hasCustomPrompt="1"/>
          </p:nvPr>
        </p:nvSpPr>
        <p:spPr>
          <a:xfrm>
            <a:off x="457198" y="4257187"/>
            <a:ext cx="2652713" cy="1267997"/>
          </a:xfrm>
        </p:spPr>
        <p:txBody>
          <a:bodyPr>
            <a:normAutofit/>
          </a:bodyPr>
          <a:lstStyle>
            <a:lvl1pPr>
              <a:defRPr sz="800">
                <a:latin typeface="Calibri" panose="020F0502020204030204" pitchFamily="34" charset="0"/>
                <a:cs typeface="Calibri" panose="020F0502020204030204" pitchFamily="34" charset="0"/>
              </a:defRPr>
            </a:lvl1pPr>
            <a:lvl2pPr>
              <a:defRPr sz="1050">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1050">
                <a:latin typeface="Calibri" panose="020F0502020204030204" pitchFamily="34" charset="0"/>
                <a:cs typeface="Calibri" panose="020F0502020204030204" pitchFamily="34" charset="0"/>
              </a:defRPr>
            </a:lvl4pPr>
            <a:lvl5pPr>
              <a:defRPr sz="1050">
                <a:latin typeface="Calibri" panose="020F0502020204030204" pitchFamily="34" charset="0"/>
                <a:cs typeface="Calibri" panose="020F0502020204030204" pitchFamily="34" charset="0"/>
              </a:defRPr>
            </a:lvl5pPr>
          </a:lstStyle>
          <a:p>
            <a:pPr lvl="0"/>
            <a:r>
              <a:rPr lang="en-GB" noProof="0" dirty="0" err="1"/>
              <a:t>Vivamus</a:t>
            </a:r>
            <a:r>
              <a:rPr lang="en-GB" noProof="0" dirty="0"/>
              <a:t> integer non </a:t>
            </a:r>
            <a:r>
              <a:rPr lang="en-GB" noProof="0" dirty="0" err="1"/>
              <a:t>suscipit</a:t>
            </a:r>
            <a:r>
              <a:rPr lang="en-GB" noProof="0" dirty="0"/>
              <a:t> </a:t>
            </a:r>
            <a:r>
              <a:rPr lang="en-GB" noProof="0" dirty="0" err="1"/>
              <a:t>taciti</a:t>
            </a:r>
            <a:r>
              <a:rPr lang="en-GB" noProof="0" dirty="0"/>
              <a:t> </a:t>
            </a:r>
            <a:r>
              <a:rPr lang="en-GB" noProof="0" dirty="0" err="1"/>
              <a:t>mus</a:t>
            </a:r>
            <a:r>
              <a:rPr lang="en-GB" noProof="0" dirty="0"/>
              <a:t> </a:t>
            </a:r>
            <a:r>
              <a:rPr lang="en-GB" noProof="0" dirty="0" err="1"/>
              <a:t>etiam</a:t>
            </a:r>
            <a:r>
              <a:rPr lang="en-GB" noProof="0" dirty="0"/>
              <a:t> at </a:t>
            </a:r>
            <a:r>
              <a:rPr lang="en-GB" noProof="0" dirty="0" err="1"/>
              <a:t>primis</a:t>
            </a:r>
            <a:r>
              <a:rPr lang="en-GB" noProof="0" dirty="0"/>
              <a:t> </a:t>
            </a:r>
            <a:r>
              <a:rPr lang="en-GB" noProof="0" dirty="0" err="1"/>
              <a:t>tempor</a:t>
            </a:r>
            <a:r>
              <a:rPr lang="en-GB" noProof="0" dirty="0"/>
              <a:t> </a:t>
            </a:r>
            <a:r>
              <a:rPr lang="en-GB" noProof="0" dirty="0" err="1"/>
              <a:t>sagittis</a:t>
            </a:r>
            <a:r>
              <a:rPr lang="en-GB" noProof="0" dirty="0"/>
              <a:t> sit, </a:t>
            </a:r>
            <a:r>
              <a:rPr lang="en-GB" noProof="0" dirty="0" err="1"/>
              <a:t>euismod</a:t>
            </a:r>
            <a:r>
              <a:rPr lang="en-GB" noProof="0" dirty="0"/>
              <a:t> libero </a:t>
            </a:r>
            <a:r>
              <a:rPr lang="en-GB" noProof="0" dirty="0" err="1"/>
              <a:t>facilisi</a:t>
            </a:r>
            <a:r>
              <a:rPr lang="en-GB" noProof="0" dirty="0"/>
              <a:t> </a:t>
            </a:r>
            <a:r>
              <a:rPr lang="en-GB" noProof="0" dirty="0" err="1"/>
              <a:t>aptent</a:t>
            </a:r>
            <a:r>
              <a:rPr lang="en-GB" noProof="0" dirty="0"/>
              <a:t> </a:t>
            </a:r>
            <a:r>
              <a:rPr lang="en-GB" noProof="0" dirty="0" err="1"/>
              <a:t>elementum</a:t>
            </a:r>
            <a:r>
              <a:rPr lang="en-GB" noProof="0" dirty="0"/>
              <a:t> </a:t>
            </a:r>
            <a:r>
              <a:rPr lang="en-GB" noProof="0" dirty="0" err="1"/>
              <a:t>felis</a:t>
            </a:r>
            <a:r>
              <a:rPr lang="en-GB" noProof="0" dirty="0"/>
              <a:t> </a:t>
            </a:r>
            <a:r>
              <a:rPr lang="en-GB" noProof="0" dirty="0" err="1"/>
              <a:t>blandit</a:t>
            </a:r>
            <a:r>
              <a:rPr lang="en-GB" noProof="0" dirty="0"/>
              <a:t> cursus gravida sociis.</a:t>
            </a:r>
          </a:p>
        </p:txBody>
      </p:sp>
      <p:sp>
        <p:nvSpPr>
          <p:cNvPr id="65" name="object 50">
            <a:extLst>
              <a:ext uri="{FF2B5EF4-FFF2-40B4-BE49-F238E27FC236}">
                <a16:creationId xmlns:a16="http://schemas.microsoft.com/office/drawing/2014/main" id="{E8BD0A2A-6975-4F1A-A436-BFB841928ED2}"/>
              </a:ext>
            </a:extLst>
          </p:cNvPr>
          <p:cNvSpPr txBox="1"/>
          <p:nvPr userDrawn="1"/>
        </p:nvSpPr>
        <p:spPr>
          <a:xfrm>
            <a:off x="3339136" y="2645929"/>
            <a:ext cx="2687116" cy="164276"/>
          </a:xfrm>
          <a:prstGeom prst="rect">
            <a:avLst/>
          </a:prstGeom>
        </p:spPr>
        <p:txBody>
          <a:bodyPr vert="horz" wrap="square" lIns="0" tIns="0" rIns="0" bIns="0" rtlCol="0">
            <a:spAutoFit/>
          </a:bodyPr>
          <a:lstStyle/>
          <a:p>
            <a:pPr marR="43180">
              <a:lnSpc>
                <a:spcPct val="113100"/>
              </a:lnSpc>
              <a:spcBef>
                <a:spcPts val="100"/>
              </a:spcBef>
            </a:pPr>
            <a:r>
              <a:rPr lang="en-GB" sz="1000" b="1" spc="-10" noProof="0" dirty="0">
                <a:solidFill>
                  <a:srgbClr val="00A3E0"/>
                </a:solidFill>
                <a:latin typeface="Calibri" panose="020F0502020204030204" pitchFamily="34" charset="0"/>
                <a:cs typeface="Calibri" panose="020F0502020204030204" pitchFamily="34" charset="0"/>
              </a:rPr>
              <a:t>Role and specialism</a:t>
            </a:r>
          </a:p>
        </p:txBody>
      </p:sp>
      <p:sp>
        <p:nvSpPr>
          <p:cNvPr id="66" name="object 50">
            <a:extLst>
              <a:ext uri="{FF2B5EF4-FFF2-40B4-BE49-F238E27FC236}">
                <a16:creationId xmlns:a16="http://schemas.microsoft.com/office/drawing/2014/main" id="{C9FA94EE-E8F1-4AD7-8FA6-4113845187C1}"/>
              </a:ext>
            </a:extLst>
          </p:cNvPr>
          <p:cNvSpPr txBox="1"/>
          <p:nvPr userDrawn="1"/>
        </p:nvSpPr>
        <p:spPr>
          <a:xfrm>
            <a:off x="3339136" y="4002660"/>
            <a:ext cx="2640013" cy="164276"/>
          </a:xfrm>
          <a:prstGeom prst="rect">
            <a:avLst/>
          </a:prstGeom>
        </p:spPr>
        <p:txBody>
          <a:bodyPr vert="horz" wrap="square" lIns="0" tIns="0" rIns="0" bIns="0" rtlCol="0">
            <a:spAutoFit/>
          </a:bodyPr>
          <a:lstStyle/>
          <a:p>
            <a:pPr marR="43180">
              <a:lnSpc>
                <a:spcPct val="113100"/>
              </a:lnSpc>
              <a:spcBef>
                <a:spcPts val="100"/>
              </a:spcBef>
            </a:pPr>
            <a:r>
              <a:rPr lang="en-GB" sz="1000" b="1" spc="-10" noProof="0" dirty="0">
                <a:solidFill>
                  <a:srgbClr val="00A3E0"/>
                </a:solidFill>
                <a:latin typeface="Calibri" panose="020F0502020204030204" pitchFamily="34" charset="0"/>
                <a:cs typeface="Calibri" panose="020F0502020204030204" pitchFamily="34" charset="0"/>
              </a:rPr>
              <a:t>Relevant experience</a:t>
            </a:r>
          </a:p>
        </p:txBody>
      </p:sp>
      <p:cxnSp>
        <p:nvCxnSpPr>
          <p:cNvPr id="67" name="Straight Connector 66">
            <a:extLst>
              <a:ext uri="{FF2B5EF4-FFF2-40B4-BE49-F238E27FC236}">
                <a16:creationId xmlns:a16="http://schemas.microsoft.com/office/drawing/2014/main" id="{6CFD90E1-34C6-44D8-A56E-3EC0BEA4CC5F}"/>
              </a:ext>
            </a:extLst>
          </p:cNvPr>
          <p:cNvCxnSpPr>
            <a:cxnSpLocks/>
          </p:cNvCxnSpPr>
          <p:nvPr userDrawn="1"/>
        </p:nvCxnSpPr>
        <p:spPr>
          <a:xfrm>
            <a:off x="3339136" y="2814200"/>
            <a:ext cx="2640014" cy="0"/>
          </a:xfrm>
          <a:prstGeom prst="line">
            <a:avLst/>
          </a:prstGeom>
          <a:ln>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8E304E7-AA60-4F7B-964C-756FDC614FB7}"/>
              </a:ext>
            </a:extLst>
          </p:cNvPr>
          <p:cNvCxnSpPr>
            <a:cxnSpLocks/>
          </p:cNvCxnSpPr>
          <p:nvPr userDrawn="1"/>
        </p:nvCxnSpPr>
        <p:spPr>
          <a:xfrm>
            <a:off x="3339136" y="4172452"/>
            <a:ext cx="2640014" cy="0"/>
          </a:xfrm>
          <a:prstGeom prst="line">
            <a:avLst/>
          </a:prstGeom>
          <a:ln>
            <a:solidFill>
              <a:srgbClr val="00A3E0"/>
            </a:solidFill>
          </a:ln>
        </p:spPr>
        <p:style>
          <a:lnRef idx="1">
            <a:schemeClr val="accent1"/>
          </a:lnRef>
          <a:fillRef idx="0">
            <a:schemeClr val="accent1"/>
          </a:fillRef>
          <a:effectRef idx="0">
            <a:schemeClr val="accent1"/>
          </a:effectRef>
          <a:fontRef idx="minor">
            <a:schemeClr val="tx1"/>
          </a:fontRef>
        </p:style>
      </p:cxnSp>
      <p:sp>
        <p:nvSpPr>
          <p:cNvPr id="69" name="Picture Placeholder 31">
            <a:extLst>
              <a:ext uri="{FF2B5EF4-FFF2-40B4-BE49-F238E27FC236}">
                <a16:creationId xmlns:a16="http://schemas.microsoft.com/office/drawing/2014/main" id="{9A749AD7-2221-4E69-AFF3-FCB70169682B}"/>
              </a:ext>
            </a:extLst>
          </p:cNvPr>
          <p:cNvSpPr>
            <a:spLocks noGrp="1"/>
          </p:cNvSpPr>
          <p:nvPr>
            <p:ph type="pic" sz="quarter" idx="14"/>
          </p:nvPr>
        </p:nvSpPr>
        <p:spPr>
          <a:xfrm>
            <a:off x="3339136" y="1540223"/>
            <a:ext cx="914400" cy="914400"/>
          </a:xfrm>
          <a:prstGeom prst="ellipse">
            <a:avLst/>
          </a:prstGeom>
        </p:spPr>
        <p:txBody>
          <a:bodyPr/>
          <a:lstStyle/>
          <a:p>
            <a:endParaRPr lang="en-GB" noProof="0"/>
          </a:p>
        </p:txBody>
      </p:sp>
      <p:sp>
        <p:nvSpPr>
          <p:cNvPr id="70" name="Text Placeholder 33">
            <a:extLst>
              <a:ext uri="{FF2B5EF4-FFF2-40B4-BE49-F238E27FC236}">
                <a16:creationId xmlns:a16="http://schemas.microsoft.com/office/drawing/2014/main" id="{D7BAF243-BF7C-4C91-A7FF-9025A4D63B54}"/>
              </a:ext>
            </a:extLst>
          </p:cNvPr>
          <p:cNvSpPr>
            <a:spLocks noGrp="1"/>
          </p:cNvSpPr>
          <p:nvPr>
            <p:ph type="body" sz="quarter" idx="15" hasCustomPrompt="1"/>
          </p:nvPr>
        </p:nvSpPr>
        <p:spPr>
          <a:xfrm>
            <a:off x="4470059" y="1792370"/>
            <a:ext cx="1425575" cy="409055"/>
          </a:xfrm>
        </p:spPr>
        <p:txBody>
          <a:bodyPr anchor="ctr"/>
          <a:lstStyle/>
          <a:p>
            <a:pPr marL="12700">
              <a:lnSpc>
                <a:spcPct val="100000"/>
              </a:lnSpc>
              <a:spcBef>
                <a:spcPts val="100"/>
              </a:spcBef>
            </a:pPr>
            <a:r>
              <a:rPr lang="en-GB" sz="1200" b="1" spc="-40" noProof="0" dirty="0">
                <a:solidFill>
                  <a:srgbClr val="86BC25"/>
                </a:solidFill>
                <a:latin typeface="Calibri" panose="020F0502020204030204" pitchFamily="34" charset="0"/>
                <a:cs typeface="Calibri" panose="020F0502020204030204" pitchFamily="34" charset="0"/>
              </a:rPr>
              <a:t>[Name]</a:t>
            </a:r>
            <a:br>
              <a:rPr lang="en-GB" sz="1200" b="1" spc="-40" noProof="0" dirty="0">
                <a:solidFill>
                  <a:srgbClr val="86BC25"/>
                </a:solidFill>
                <a:latin typeface="Calibri" panose="020F0502020204030204" pitchFamily="34" charset="0"/>
                <a:cs typeface="Calibri" panose="020F0502020204030204" pitchFamily="34" charset="0"/>
              </a:rPr>
            </a:br>
            <a:r>
              <a:rPr lang="en-GB" sz="1200" b="1" spc="-40" noProof="0" dirty="0">
                <a:latin typeface="Calibri" panose="020F0502020204030204" pitchFamily="34" charset="0"/>
                <a:cs typeface="Calibri" panose="020F0502020204030204" pitchFamily="34" charset="0"/>
              </a:rPr>
              <a:t>[Title]</a:t>
            </a:r>
            <a:endParaRPr lang="en-GB" sz="1200" b="1" noProof="0" dirty="0">
              <a:latin typeface="Calibri" panose="020F0502020204030204" pitchFamily="34" charset="0"/>
              <a:cs typeface="Calibri" panose="020F0502020204030204" pitchFamily="34" charset="0"/>
            </a:endParaRPr>
          </a:p>
        </p:txBody>
      </p:sp>
      <p:sp>
        <p:nvSpPr>
          <p:cNvPr id="71" name="Text Placeholder 35">
            <a:extLst>
              <a:ext uri="{FF2B5EF4-FFF2-40B4-BE49-F238E27FC236}">
                <a16:creationId xmlns:a16="http://schemas.microsoft.com/office/drawing/2014/main" id="{B6361142-9A89-4BA1-BE1C-4C6D5A9765BE}"/>
              </a:ext>
            </a:extLst>
          </p:cNvPr>
          <p:cNvSpPr>
            <a:spLocks noGrp="1"/>
          </p:cNvSpPr>
          <p:nvPr>
            <p:ph type="body" sz="quarter" idx="16" hasCustomPrompt="1"/>
          </p:nvPr>
        </p:nvSpPr>
        <p:spPr>
          <a:xfrm>
            <a:off x="3326435" y="2898075"/>
            <a:ext cx="2652713" cy="968312"/>
          </a:xfrm>
        </p:spPr>
        <p:txBody>
          <a:bodyPr>
            <a:normAutofit/>
          </a:bodyPr>
          <a:lstStyle>
            <a:lvl1pPr>
              <a:defRPr sz="800">
                <a:latin typeface="Calibri" panose="020F0502020204030204" pitchFamily="34" charset="0"/>
                <a:cs typeface="Calibri" panose="020F0502020204030204" pitchFamily="34" charset="0"/>
              </a:defRPr>
            </a:lvl1pPr>
            <a:lvl2pPr>
              <a:defRPr sz="1050">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1050">
                <a:latin typeface="Calibri" panose="020F0502020204030204" pitchFamily="34" charset="0"/>
                <a:cs typeface="Calibri" panose="020F0502020204030204" pitchFamily="34" charset="0"/>
              </a:defRPr>
            </a:lvl4pPr>
            <a:lvl5pPr>
              <a:defRPr sz="1050">
                <a:latin typeface="Calibri" panose="020F0502020204030204" pitchFamily="34" charset="0"/>
                <a:cs typeface="Calibri" panose="020F0502020204030204" pitchFamily="34" charset="0"/>
              </a:defRPr>
            </a:lvl5pPr>
          </a:lstStyle>
          <a:p>
            <a:pPr lvl="0"/>
            <a:r>
              <a:rPr lang="en-GB" noProof="0" dirty="0" err="1"/>
              <a:t>Vivamus</a:t>
            </a:r>
            <a:r>
              <a:rPr lang="en-GB" noProof="0" dirty="0"/>
              <a:t> integer non </a:t>
            </a:r>
            <a:r>
              <a:rPr lang="en-GB" noProof="0" dirty="0" err="1"/>
              <a:t>suscipit</a:t>
            </a:r>
            <a:r>
              <a:rPr lang="en-GB" noProof="0" dirty="0"/>
              <a:t> </a:t>
            </a:r>
            <a:r>
              <a:rPr lang="en-GB" noProof="0" dirty="0" err="1"/>
              <a:t>taciti</a:t>
            </a:r>
            <a:r>
              <a:rPr lang="en-GB" noProof="0" dirty="0"/>
              <a:t> </a:t>
            </a:r>
            <a:r>
              <a:rPr lang="en-GB" noProof="0" dirty="0" err="1"/>
              <a:t>mus</a:t>
            </a:r>
            <a:r>
              <a:rPr lang="en-GB" noProof="0" dirty="0"/>
              <a:t> </a:t>
            </a:r>
            <a:r>
              <a:rPr lang="en-GB" noProof="0" dirty="0" err="1"/>
              <a:t>etiam</a:t>
            </a:r>
            <a:r>
              <a:rPr lang="en-GB" noProof="0" dirty="0"/>
              <a:t> at </a:t>
            </a:r>
            <a:r>
              <a:rPr lang="en-GB" noProof="0" dirty="0" err="1"/>
              <a:t>primis</a:t>
            </a:r>
            <a:r>
              <a:rPr lang="en-GB" noProof="0" dirty="0"/>
              <a:t> </a:t>
            </a:r>
            <a:r>
              <a:rPr lang="en-GB" noProof="0" dirty="0" err="1"/>
              <a:t>tempor</a:t>
            </a:r>
            <a:r>
              <a:rPr lang="en-GB" noProof="0" dirty="0"/>
              <a:t> </a:t>
            </a:r>
            <a:r>
              <a:rPr lang="en-GB" noProof="0" dirty="0" err="1"/>
              <a:t>sagittis</a:t>
            </a:r>
            <a:r>
              <a:rPr lang="en-GB" noProof="0" dirty="0"/>
              <a:t> sit, </a:t>
            </a:r>
            <a:r>
              <a:rPr lang="en-GB" noProof="0" dirty="0" err="1"/>
              <a:t>euismod</a:t>
            </a:r>
            <a:r>
              <a:rPr lang="en-GB" noProof="0" dirty="0"/>
              <a:t> libero </a:t>
            </a:r>
            <a:r>
              <a:rPr lang="en-GB" noProof="0" dirty="0" err="1"/>
              <a:t>facilisi</a:t>
            </a:r>
            <a:r>
              <a:rPr lang="en-GB" noProof="0" dirty="0"/>
              <a:t> </a:t>
            </a:r>
            <a:r>
              <a:rPr lang="en-GB" noProof="0" dirty="0" err="1"/>
              <a:t>aptent</a:t>
            </a:r>
            <a:r>
              <a:rPr lang="en-GB" noProof="0" dirty="0"/>
              <a:t> </a:t>
            </a:r>
            <a:r>
              <a:rPr lang="en-GB" noProof="0" dirty="0" err="1"/>
              <a:t>elementum</a:t>
            </a:r>
            <a:r>
              <a:rPr lang="en-GB" noProof="0" dirty="0"/>
              <a:t> </a:t>
            </a:r>
            <a:r>
              <a:rPr lang="en-GB" noProof="0" dirty="0" err="1"/>
              <a:t>felis</a:t>
            </a:r>
            <a:r>
              <a:rPr lang="en-GB" noProof="0" dirty="0"/>
              <a:t> </a:t>
            </a:r>
            <a:r>
              <a:rPr lang="en-GB" noProof="0" dirty="0" err="1"/>
              <a:t>blandit</a:t>
            </a:r>
            <a:r>
              <a:rPr lang="en-GB" noProof="0" dirty="0"/>
              <a:t> cursus gravida sociis.</a:t>
            </a:r>
          </a:p>
        </p:txBody>
      </p:sp>
      <p:sp>
        <p:nvSpPr>
          <p:cNvPr id="72" name="Text Placeholder 35">
            <a:extLst>
              <a:ext uri="{FF2B5EF4-FFF2-40B4-BE49-F238E27FC236}">
                <a16:creationId xmlns:a16="http://schemas.microsoft.com/office/drawing/2014/main" id="{F1265746-4FB5-4479-A833-CB3AAA403375}"/>
              </a:ext>
            </a:extLst>
          </p:cNvPr>
          <p:cNvSpPr>
            <a:spLocks noGrp="1"/>
          </p:cNvSpPr>
          <p:nvPr>
            <p:ph type="body" sz="quarter" idx="17" hasCustomPrompt="1"/>
          </p:nvPr>
        </p:nvSpPr>
        <p:spPr>
          <a:xfrm>
            <a:off x="3326434" y="4257187"/>
            <a:ext cx="2652713" cy="1267997"/>
          </a:xfrm>
        </p:spPr>
        <p:txBody>
          <a:bodyPr>
            <a:normAutofit/>
          </a:bodyPr>
          <a:lstStyle>
            <a:lvl1pPr>
              <a:defRPr sz="800">
                <a:latin typeface="Calibri" panose="020F0502020204030204" pitchFamily="34" charset="0"/>
                <a:cs typeface="Calibri" panose="020F0502020204030204" pitchFamily="34" charset="0"/>
              </a:defRPr>
            </a:lvl1pPr>
            <a:lvl2pPr>
              <a:defRPr sz="1050">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1050">
                <a:latin typeface="Calibri" panose="020F0502020204030204" pitchFamily="34" charset="0"/>
                <a:cs typeface="Calibri" panose="020F0502020204030204" pitchFamily="34" charset="0"/>
              </a:defRPr>
            </a:lvl4pPr>
            <a:lvl5pPr>
              <a:defRPr sz="1050">
                <a:latin typeface="Calibri" panose="020F0502020204030204" pitchFamily="34" charset="0"/>
                <a:cs typeface="Calibri" panose="020F0502020204030204" pitchFamily="34" charset="0"/>
              </a:defRPr>
            </a:lvl5pPr>
          </a:lstStyle>
          <a:p>
            <a:pPr lvl="0"/>
            <a:r>
              <a:rPr lang="en-GB" noProof="0" dirty="0" err="1"/>
              <a:t>Vivamus</a:t>
            </a:r>
            <a:r>
              <a:rPr lang="en-GB" noProof="0" dirty="0"/>
              <a:t> integer non </a:t>
            </a:r>
            <a:r>
              <a:rPr lang="en-GB" noProof="0" dirty="0" err="1"/>
              <a:t>suscipit</a:t>
            </a:r>
            <a:r>
              <a:rPr lang="en-GB" noProof="0" dirty="0"/>
              <a:t> </a:t>
            </a:r>
            <a:r>
              <a:rPr lang="en-GB" noProof="0" dirty="0" err="1"/>
              <a:t>taciti</a:t>
            </a:r>
            <a:r>
              <a:rPr lang="en-GB" noProof="0" dirty="0"/>
              <a:t> </a:t>
            </a:r>
            <a:r>
              <a:rPr lang="en-GB" noProof="0" dirty="0" err="1"/>
              <a:t>mus</a:t>
            </a:r>
            <a:r>
              <a:rPr lang="en-GB" noProof="0" dirty="0"/>
              <a:t> </a:t>
            </a:r>
            <a:r>
              <a:rPr lang="en-GB" noProof="0" dirty="0" err="1"/>
              <a:t>etiam</a:t>
            </a:r>
            <a:r>
              <a:rPr lang="en-GB" noProof="0" dirty="0"/>
              <a:t> at </a:t>
            </a:r>
            <a:r>
              <a:rPr lang="en-GB" noProof="0" dirty="0" err="1"/>
              <a:t>primis</a:t>
            </a:r>
            <a:r>
              <a:rPr lang="en-GB" noProof="0" dirty="0"/>
              <a:t> </a:t>
            </a:r>
            <a:r>
              <a:rPr lang="en-GB" noProof="0" dirty="0" err="1"/>
              <a:t>tempor</a:t>
            </a:r>
            <a:r>
              <a:rPr lang="en-GB" noProof="0" dirty="0"/>
              <a:t> </a:t>
            </a:r>
            <a:r>
              <a:rPr lang="en-GB" noProof="0" dirty="0" err="1"/>
              <a:t>sagittis</a:t>
            </a:r>
            <a:r>
              <a:rPr lang="en-GB" noProof="0" dirty="0"/>
              <a:t> sit, </a:t>
            </a:r>
            <a:r>
              <a:rPr lang="en-GB" noProof="0" dirty="0" err="1"/>
              <a:t>euismod</a:t>
            </a:r>
            <a:r>
              <a:rPr lang="en-GB" noProof="0" dirty="0"/>
              <a:t> libero </a:t>
            </a:r>
            <a:r>
              <a:rPr lang="en-GB" noProof="0" dirty="0" err="1"/>
              <a:t>facilisi</a:t>
            </a:r>
            <a:r>
              <a:rPr lang="en-GB" noProof="0" dirty="0"/>
              <a:t> </a:t>
            </a:r>
            <a:r>
              <a:rPr lang="en-GB" noProof="0" dirty="0" err="1"/>
              <a:t>aptent</a:t>
            </a:r>
            <a:r>
              <a:rPr lang="en-GB" noProof="0" dirty="0"/>
              <a:t> </a:t>
            </a:r>
            <a:r>
              <a:rPr lang="en-GB" noProof="0" dirty="0" err="1"/>
              <a:t>elementum</a:t>
            </a:r>
            <a:r>
              <a:rPr lang="en-GB" noProof="0" dirty="0"/>
              <a:t> </a:t>
            </a:r>
            <a:r>
              <a:rPr lang="en-GB" noProof="0" dirty="0" err="1"/>
              <a:t>felis</a:t>
            </a:r>
            <a:r>
              <a:rPr lang="en-GB" noProof="0" dirty="0"/>
              <a:t> </a:t>
            </a:r>
            <a:r>
              <a:rPr lang="en-GB" noProof="0" dirty="0" err="1"/>
              <a:t>blandit</a:t>
            </a:r>
            <a:r>
              <a:rPr lang="en-GB" noProof="0" dirty="0"/>
              <a:t> cursus gravida sociis.</a:t>
            </a:r>
          </a:p>
        </p:txBody>
      </p:sp>
      <p:sp>
        <p:nvSpPr>
          <p:cNvPr id="73" name="object 50">
            <a:extLst>
              <a:ext uri="{FF2B5EF4-FFF2-40B4-BE49-F238E27FC236}">
                <a16:creationId xmlns:a16="http://schemas.microsoft.com/office/drawing/2014/main" id="{680875B6-89D4-4151-BD71-AF5A780CA863}"/>
              </a:ext>
            </a:extLst>
          </p:cNvPr>
          <p:cNvSpPr txBox="1"/>
          <p:nvPr userDrawn="1"/>
        </p:nvSpPr>
        <p:spPr>
          <a:xfrm>
            <a:off x="6222659" y="2645929"/>
            <a:ext cx="2687116" cy="164276"/>
          </a:xfrm>
          <a:prstGeom prst="rect">
            <a:avLst/>
          </a:prstGeom>
        </p:spPr>
        <p:txBody>
          <a:bodyPr vert="horz" wrap="square" lIns="0" tIns="0" rIns="0" bIns="0" rtlCol="0">
            <a:spAutoFit/>
          </a:bodyPr>
          <a:lstStyle/>
          <a:p>
            <a:pPr marR="43180">
              <a:lnSpc>
                <a:spcPct val="113100"/>
              </a:lnSpc>
              <a:spcBef>
                <a:spcPts val="100"/>
              </a:spcBef>
            </a:pPr>
            <a:r>
              <a:rPr lang="en-GB" sz="1000" b="1" spc="-10" noProof="0" dirty="0">
                <a:solidFill>
                  <a:srgbClr val="00A3E0"/>
                </a:solidFill>
                <a:latin typeface="Calibri" panose="020F0502020204030204" pitchFamily="34" charset="0"/>
                <a:cs typeface="Calibri" panose="020F0502020204030204" pitchFamily="34" charset="0"/>
              </a:rPr>
              <a:t>Role and specialism</a:t>
            </a:r>
          </a:p>
        </p:txBody>
      </p:sp>
      <p:sp>
        <p:nvSpPr>
          <p:cNvPr id="74" name="object 50">
            <a:extLst>
              <a:ext uri="{FF2B5EF4-FFF2-40B4-BE49-F238E27FC236}">
                <a16:creationId xmlns:a16="http://schemas.microsoft.com/office/drawing/2014/main" id="{E237F32A-F6AF-4F5A-95E9-BD5A2DEB5058}"/>
              </a:ext>
            </a:extLst>
          </p:cNvPr>
          <p:cNvSpPr txBox="1"/>
          <p:nvPr userDrawn="1"/>
        </p:nvSpPr>
        <p:spPr>
          <a:xfrm>
            <a:off x="6222659" y="4002660"/>
            <a:ext cx="2640013" cy="164276"/>
          </a:xfrm>
          <a:prstGeom prst="rect">
            <a:avLst/>
          </a:prstGeom>
        </p:spPr>
        <p:txBody>
          <a:bodyPr vert="horz" wrap="square" lIns="0" tIns="0" rIns="0" bIns="0" rtlCol="0">
            <a:spAutoFit/>
          </a:bodyPr>
          <a:lstStyle/>
          <a:p>
            <a:pPr marR="43180">
              <a:lnSpc>
                <a:spcPct val="113100"/>
              </a:lnSpc>
              <a:spcBef>
                <a:spcPts val="100"/>
              </a:spcBef>
            </a:pPr>
            <a:r>
              <a:rPr lang="en-GB" sz="1000" b="1" spc="-10" noProof="0" dirty="0">
                <a:solidFill>
                  <a:srgbClr val="00A3E0"/>
                </a:solidFill>
                <a:latin typeface="Calibri" panose="020F0502020204030204" pitchFamily="34" charset="0"/>
                <a:cs typeface="Calibri" panose="020F0502020204030204" pitchFamily="34" charset="0"/>
              </a:rPr>
              <a:t>Relevant experience</a:t>
            </a:r>
          </a:p>
        </p:txBody>
      </p:sp>
      <p:cxnSp>
        <p:nvCxnSpPr>
          <p:cNvPr id="75" name="Straight Connector 74">
            <a:extLst>
              <a:ext uri="{FF2B5EF4-FFF2-40B4-BE49-F238E27FC236}">
                <a16:creationId xmlns:a16="http://schemas.microsoft.com/office/drawing/2014/main" id="{8C2F795F-2653-4416-8A5A-7D28FDC806B9}"/>
              </a:ext>
            </a:extLst>
          </p:cNvPr>
          <p:cNvCxnSpPr>
            <a:cxnSpLocks/>
          </p:cNvCxnSpPr>
          <p:nvPr userDrawn="1"/>
        </p:nvCxnSpPr>
        <p:spPr>
          <a:xfrm>
            <a:off x="6222659" y="2814200"/>
            <a:ext cx="2640014" cy="0"/>
          </a:xfrm>
          <a:prstGeom prst="line">
            <a:avLst/>
          </a:prstGeom>
          <a:ln>
            <a:solidFill>
              <a:srgbClr val="00A3E0"/>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448387B-6936-4CA9-BDEC-42D8C82C5BAE}"/>
              </a:ext>
            </a:extLst>
          </p:cNvPr>
          <p:cNvCxnSpPr>
            <a:cxnSpLocks/>
          </p:cNvCxnSpPr>
          <p:nvPr userDrawn="1"/>
        </p:nvCxnSpPr>
        <p:spPr>
          <a:xfrm>
            <a:off x="6222659" y="4172452"/>
            <a:ext cx="2640014" cy="0"/>
          </a:xfrm>
          <a:prstGeom prst="line">
            <a:avLst/>
          </a:prstGeom>
          <a:ln>
            <a:solidFill>
              <a:srgbClr val="00A3E0"/>
            </a:solidFill>
          </a:ln>
        </p:spPr>
        <p:style>
          <a:lnRef idx="1">
            <a:schemeClr val="accent1"/>
          </a:lnRef>
          <a:fillRef idx="0">
            <a:schemeClr val="accent1"/>
          </a:fillRef>
          <a:effectRef idx="0">
            <a:schemeClr val="accent1"/>
          </a:effectRef>
          <a:fontRef idx="minor">
            <a:schemeClr val="tx1"/>
          </a:fontRef>
        </p:style>
      </p:cxnSp>
      <p:sp>
        <p:nvSpPr>
          <p:cNvPr id="77" name="Picture Placeholder 31">
            <a:extLst>
              <a:ext uri="{FF2B5EF4-FFF2-40B4-BE49-F238E27FC236}">
                <a16:creationId xmlns:a16="http://schemas.microsoft.com/office/drawing/2014/main" id="{30FB441A-C660-457A-98E1-D8C35C013275}"/>
              </a:ext>
            </a:extLst>
          </p:cNvPr>
          <p:cNvSpPr>
            <a:spLocks noGrp="1"/>
          </p:cNvSpPr>
          <p:nvPr>
            <p:ph type="pic" sz="quarter" idx="18"/>
          </p:nvPr>
        </p:nvSpPr>
        <p:spPr>
          <a:xfrm>
            <a:off x="6222659" y="1540223"/>
            <a:ext cx="914400" cy="914400"/>
          </a:xfrm>
          <a:prstGeom prst="ellipse">
            <a:avLst/>
          </a:prstGeom>
        </p:spPr>
        <p:txBody>
          <a:bodyPr/>
          <a:lstStyle/>
          <a:p>
            <a:endParaRPr lang="en-GB" noProof="0"/>
          </a:p>
        </p:txBody>
      </p:sp>
      <p:sp>
        <p:nvSpPr>
          <p:cNvPr id="78" name="Text Placeholder 33">
            <a:extLst>
              <a:ext uri="{FF2B5EF4-FFF2-40B4-BE49-F238E27FC236}">
                <a16:creationId xmlns:a16="http://schemas.microsoft.com/office/drawing/2014/main" id="{8355E977-3553-4BF3-9847-D97794E8D367}"/>
              </a:ext>
            </a:extLst>
          </p:cNvPr>
          <p:cNvSpPr>
            <a:spLocks noGrp="1"/>
          </p:cNvSpPr>
          <p:nvPr>
            <p:ph type="body" sz="quarter" idx="19" hasCustomPrompt="1"/>
          </p:nvPr>
        </p:nvSpPr>
        <p:spPr>
          <a:xfrm>
            <a:off x="7353582" y="1792370"/>
            <a:ext cx="1425575" cy="409055"/>
          </a:xfrm>
        </p:spPr>
        <p:txBody>
          <a:bodyPr anchor="ctr"/>
          <a:lstStyle/>
          <a:p>
            <a:pPr marL="12700">
              <a:lnSpc>
                <a:spcPct val="100000"/>
              </a:lnSpc>
              <a:spcBef>
                <a:spcPts val="100"/>
              </a:spcBef>
            </a:pPr>
            <a:r>
              <a:rPr lang="en-GB" sz="1200" b="1" spc="-40" noProof="0" dirty="0">
                <a:solidFill>
                  <a:srgbClr val="86BC25"/>
                </a:solidFill>
                <a:latin typeface="Calibri" panose="020F0502020204030204" pitchFamily="34" charset="0"/>
                <a:cs typeface="Calibri" panose="020F0502020204030204" pitchFamily="34" charset="0"/>
              </a:rPr>
              <a:t>[Name]</a:t>
            </a:r>
            <a:br>
              <a:rPr lang="en-GB" sz="1200" b="1" spc="-40" noProof="0" dirty="0">
                <a:solidFill>
                  <a:srgbClr val="86BC25"/>
                </a:solidFill>
                <a:latin typeface="Calibri" panose="020F0502020204030204" pitchFamily="34" charset="0"/>
                <a:cs typeface="Calibri" panose="020F0502020204030204" pitchFamily="34" charset="0"/>
              </a:rPr>
            </a:br>
            <a:r>
              <a:rPr lang="en-GB" sz="1200" b="1" spc="-40" noProof="0" dirty="0">
                <a:latin typeface="Calibri" panose="020F0502020204030204" pitchFamily="34" charset="0"/>
                <a:cs typeface="Calibri" panose="020F0502020204030204" pitchFamily="34" charset="0"/>
              </a:rPr>
              <a:t>[Title]</a:t>
            </a:r>
            <a:endParaRPr lang="en-GB" sz="1200" b="1" noProof="0" dirty="0">
              <a:latin typeface="Calibri" panose="020F0502020204030204" pitchFamily="34" charset="0"/>
              <a:cs typeface="Calibri" panose="020F0502020204030204" pitchFamily="34" charset="0"/>
            </a:endParaRPr>
          </a:p>
        </p:txBody>
      </p:sp>
      <p:sp>
        <p:nvSpPr>
          <p:cNvPr id="79" name="Text Placeholder 35">
            <a:extLst>
              <a:ext uri="{FF2B5EF4-FFF2-40B4-BE49-F238E27FC236}">
                <a16:creationId xmlns:a16="http://schemas.microsoft.com/office/drawing/2014/main" id="{D6B46EA3-8547-4B1D-AC87-1B0B2D142C61}"/>
              </a:ext>
            </a:extLst>
          </p:cNvPr>
          <p:cNvSpPr>
            <a:spLocks noGrp="1"/>
          </p:cNvSpPr>
          <p:nvPr>
            <p:ph type="body" sz="quarter" idx="20" hasCustomPrompt="1"/>
          </p:nvPr>
        </p:nvSpPr>
        <p:spPr>
          <a:xfrm>
            <a:off x="6209958" y="2898075"/>
            <a:ext cx="2652713" cy="968312"/>
          </a:xfrm>
        </p:spPr>
        <p:txBody>
          <a:bodyPr>
            <a:normAutofit/>
          </a:bodyPr>
          <a:lstStyle>
            <a:lvl1pPr>
              <a:defRPr sz="800">
                <a:latin typeface="Calibri" panose="020F0502020204030204" pitchFamily="34" charset="0"/>
                <a:cs typeface="Calibri" panose="020F0502020204030204" pitchFamily="34" charset="0"/>
              </a:defRPr>
            </a:lvl1pPr>
            <a:lvl2pPr>
              <a:defRPr sz="1050">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1050">
                <a:latin typeface="Calibri" panose="020F0502020204030204" pitchFamily="34" charset="0"/>
                <a:cs typeface="Calibri" panose="020F0502020204030204" pitchFamily="34" charset="0"/>
              </a:defRPr>
            </a:lvl4pPr>
            <a:lvl5pPr>
              <a:defRPr sz="1050">
                <a:latin typeface="Calibri" panose="020F0502020204030204" pitchFamily="34" charset="0"/>
                <a:cs typeface="Calibri" panose="020F0502020204030204" pitchFamily="34" charset="0"/>
              </a:defRPr>
            </a:lvl5pPr>
          </a:lstStyle>
          <a:p>
            <a:pPr lvl="0"/>
            <a:r>
              <a:rPr lang="en-GB" noProof="0" dirty="0" err="1"/>
              <a:t>Vivamus</a:t>
            </a:r>
            <a:r>
              <a:rPr lang="en-GB" noProof="0" dirty="0"/>
              <a:t> integer non </a:t>
            </a:r>
            <a:r>
              <a:rPr lang="en-GB" noProof="0" dirty="0" err="1"/>
              <a:t>suscipit</a:t>
            </a:r>
            <a:r>
              <a:rPr lang="en-GB" noProof="0" dirty="0"/>
              <a:t> </a:t>
            </a:r>
            <a:r>
              <a:rPr lang="en-GB" noProof="0" dirty="0" err="1"/>
              <a:t>taciti</a:t>
            </a:r>
            <a:r>
              <a:rPr lang="en-GB" noProof="0" dirty="0"/>
              <a:t> </a:t>
            </a:r>
            <a:r>
              <a:rPr lang="en-GB" noProof="0" dirty="0" err="1"/>
              <a:t>mus</a:t>
            </a:r>
            <a:r>
              <a:rPr lang="en-GB" noProof="0" dirty="0"/>
              <a:t> </a:t>
            </a:r>
            <a:r>
              <a:rPr lang="en-GB" noProof="0" dirty="0" err="1"/>
              <a:t>etiam</a:t>
            </a:r>
            <a:r>
              <a:rPr lang="en-GB" noProof="0" dirty="0"/>
              <a:t> at </a:t>
            </a:r>
            <a:r>
              <a:rPr lang="en-GB" noProof="0" dirty="0" err="1"/>
              <a:t>primis</a:t>
            </a:r>
            <a:r>
              <a:rPr lang="en-GB" noProof="0" dirty="0"/>
              <a:t> </a:t>
            </a:r>
            <a:r>
              <a:rPr lang="en-GB" noProof="0" dirty="0" err="1"/>
              <a:t>tempor</a:t>
            </a:r>
            <a:r>
              <a:rPr lang="en-GB" noProof="0" dirty="0"/>
              <a:t> </a:t>
            </a:r>
            <a:r>
              <a:rPr lang="en-GB" noProof="0" dirty="0" err="1"/>
              <a:t>sagittis</a:t>
            </a:r>
            <a:r>
              <a:rPr lang="en-GB" noProof="0" dirty="0"/>
              <a:t> sit, </a:t>
            </a:r>
            <a:r>
              <a:rPr lang="en-GB" noProof="0" dirty="0" err="1"/>
              <a:t>euismod</a:t>
            </a:r>
            <a:r>
              <a:rPr lang="en-GB" noProof="0" dirty="0"/>
              <a:t> libero </a:t>
            </a:r>
            <a:r>
              <a:rPr lang="en-GB" noProof="0" dirty="0" err="1"/>
              <a:t>facilisi</a:t>
            </a:r>
            <a:r>
              <a:rPr lang="en-GB" noProof="0" dirty="0"/>
              <a:t> </a:t>
            </a:r>
            <a:r>
              <a:rPr lang="en-GB" noProof="0" dirty="0" err="1"/>
              <a:t>aptent</a:t>
            </a:r>
            <a:r>
              <a:rPr lang="en-GB" noProof="0" dirty="0"/>
              <a:t> </a:t>
            </a:r>
            <a:r>
              <a:rPr lang="en-GB" noProof="0" dirty="0" err="1"/>
              <a:t>elementum</a:t>
            </a:r>
            <a:r>
              <a:rPr lang="en-GB" noProof="0" dirty="0"/>
              <a:t> </a:t>
            </a:r>
            <a:r>
              <a:rPr lang="en-GB" noProof="0" dirty="0" err="1"/>
              <a:t>felis</a:t>
            </a:r>
            <a:r>
              <a:rPr lang="en-GB" noProof="0" dirty="0"/>
              <a:t> </a:t>
            </a:r>
            <a:r>
              <a:rPr lang="en-GB" noProof="0" dirty="0" err="1"/>
              <a:t>blandit</a:t>
            </a:r>
            <a:r>
              <a:rPr lang="en-GB" noProof="0" dirty="0"/>
              <a:t> cursus gravida sociis.</a:t>
            </a:r>
          </a:p>
        </p:txBody>
      </p:sp>
      <p:sp>
        <p:nvSpPr>
          <p:cNvPr id="80" name="Text Placeholder 35">
            <a:extLst>
              <a:ext uri="{FF2B5EF4-FFF2-40B4-BE49-F238E27FC236}">
                <a16:creationId xmlns:a16="http://schemas.microsoft.com/office/drawing/2014/main" id="{40CA911C-89B1-4E91-AFDB-38C6D3AB41F2}"/>
              </a:ext>
            </a:extLst>
          </p:cNvPr>
          <p:cNvSpPr>
            <a:spLocks noGrp="1"/>
          </p:cNvSpPr>
          <p:nvPr>
            <p:ph type="body" sz="quarter" idx="21" hasCustomPrompt="1"/>
          </p:nvPr>
        </p:nvSpPr>
        <p:spPr>
          <a:xfrm>
            <a:off x="6209957" y="4257187"/>
            <a:ext cx="2652713" cy="1267997"/>
          </a:xfrm>
        </p:spPr>
        <p:txBody>
          <a:bodyPr>
            <a:normAutofit/>
          </a:bodyPr>
          <a:lstStyle>
            <a:lvl1pPr>
              <a:defRPr sz="800">
                <a:latin typeface="Calibri" panose="020F0502020204030204" pitchFamily="34" charset="0"/>
                <a:cs typeface="Calibri" panose="020F0502020204030204" pitchFamily="34" charset="0"/>
              </a:defRPr>
            </a:lvl1pPr>
            <a:lvl2pPr>
              <a:defRPr sz="1050">
                <a:latin typeface="Calibri" panose="020F0502020204030204" pitchFamily="34" charset="0"/>
                <a:cs typeface="Calibri" panose="020F0502020204030204" pitchFamily="34" charset="0"/>
              </a:defRPr>
            </a:lvl2pPr>
            <a:lvl3pPr>
              <a:defRPr sz="1050">
                <a:latin typeface="Calibri" panose="020F0502020204030204" pitchFamily="34" charset="0"/>
                <a:cs typeface="Calibri" panose="020F0502020204030204" pitchFamily="34" charset="0"/>
              </a:defRPr>
            </a:lvl3pPr>
            <a:lvl4pPr>
              <a:defRPr sz="1050">
                <a:latin typeface="Calibri" panose="020F0502020204030204" pitchFamily="34" charset="0"/>
                <a:cs typeface="Calibri" panose="020F0502020204030204" pitchFamily="34" charset="0"/>
              </a:defRPr>
            </a:lvl4pPr>
            <a:lvl5pPr>
              <a:defRPr sz="1050">
                <a:latin typeface="Calibri" panose="020F0502020204030204" pitchFamily="34" charset="0"/>
                <a:cs typeface="Calibri" panose="020F0502020204030204" pitchFamily="34" charset="0"/>
              </a:defRPr>
            </a:lvl5pPr>
          </a:lstStyle>
          <a:p>
            <a:pPr lvl="0"/>
            <a:r>
              <a:rPr lang="en-GB" noProof="0" dirty="0" err="1"/>
              <a:t>Vivamus</a:t>
            </a:r>
            <a:r>
              <a:rPr lang="en-GB" noProof="0" dirty="0"/>
              <a:t> integer non </a:t>
            </a:r>
            <a:r>
              <a:rPr lang="en-GB" noProof="0" dirty="0" err="1"/>
              <a:t>suscipit</a:t>
            </a:r>
            <a:r>
              <a:rPr lang="en-GB" noProof="0" dirty="0"/>
              <a:t> </a:t>
            </a:r>
            <a:r>
              <a:rPr lang="en-GB" noProof="0" dirty="0" err="1"/>
              <a:t>taciti</a:t>
            </a:r>
            <a:r>
              <a:rPr lang="en-GB" noProof="0" dirty="0"/>
              <a:t> </a:t>
            </a:r>
            <a:r>
              <a:rPr lang="en-GB" noProof="0" dirty="0" err="1"/>
              <a:t>mus</a:t>
            </a:r>
            <a:r>
              <a:rPr lang="en-GB" noProof="0" dirty="0"/>
              <a:t> </a:t>
            </a:r>
            <a:r>
              <a:rPr lang="en-GB" noProof="0" dirty="0" err="1"/>
              <a:t>etiam</a:t>
            </a:r>
            <a:r>
              <a:rPr lang="en-GB" noProof="0" dirty="0"/>
              <a:t> at </a:t>
            </a:r>
            <a:r>
              <a:rPr lang="en-GB" noProof="0" dirty="0" err="1"/>
              <a:t>primis</a:t>
            </a:r>
            <a:r>
              <a:rPr lang="en-GB" noProof="0" dirty="0"/>
              <a:t> </a:t>
            </a:r>
            <a:r>
              <a:rPr lang="en-GB" noProof="0" dirty="0" err="1"/>
              <a:t>tempor</a:t>
            </a:r>
            <a:r>
              <a:rPr lang="en-GB" noProof="0" dirty="0"/>
              <a:t> </a:t>
            </a:r>
            <a:r>
              <a:rPr lang="en-GB" noProof="0" dirty="0" err="1"/>
              <a:t>sagittis</a:t>
            </a:r>
            <a:r>
              <a:rPr lang="en-GB" noProof="0" dirty="0"/>
              <a:t> sit, </a:t>
            </a:r>
            <a:r>
              <a:rPr lang="en-GB" noProof="0" dirty="0" err="1"/>
              <a:t>euismod</a:t>
            </a:r>
            <a:r>
              <a:rPr lang="en-GB" noProof="0" dirty="0"/>
              <a:t> libero </a:t>
            </a:r>
            <a:r>
              <a:rPr lang="en-GB" noProof="0" dirty="0" err="1"/>
              <a:t>facilisi</a:t>
            </a:r>
            <a:r>
              <a:rPr lang="en-GB" noProof="0" dirty="0"/>
              <a:t> </a:t>
            </a:r>
            <a:r>
              <a:rPr lang="en-GB" noProof="0" dirty="0" err="1"/>
              <a:t>aptent</a:t>
            </a:r>
            <a:r>
              <a:rPr lang="en-GB" noProof="0" dirty="0"/>
              <a:t> </a:t>
            </a:r>
            <a:r>
              <a:rPr lang="en-GB" noProof="0" dirty="0" err="1"/>
              <a:t>elementum</a:t>
            </a:r>
            <a:r>
              <a:rPr lang="en-GB" noProof="0" dirty="0"/>
              <a:t> </a:t>
            </a:r>
            <a:r>
              <a:rPr lang="en-GB" noProof="0" dirty="0" err="1"/>
              <a:t>felis</a:t>
            </a:r>
            <a:r>
              <a:rPr lang="en-GB" noProof="0" dirty="0"/>
              <a:t> </a:t>
            </a:r>
            <a:r>
              <a:rPr lang="en-GB" noProof="0" dirty="0" err="1"/>
              <a:t>blandit</a:t>
            </a:r>
            <a:r>
              <a:rPr lang="en-GB" noProof="0" dirty="0"/>
              <a:t> cursus gravida sociis.</a:t>
            </a:r>
          </a:p>
        </p:txBody>
      </p:sp>
    </p:spTree>
    <p:extLst>
      <p:ext uri="{BB962C8B-B14F-4D97-AF65-F5344CB8AC3E}">
        <p14:creationId xmlns:p14="http://schemas.microsoft.com/office/powerpoint/2010/main" val="376159654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GB" noProof="0" dirty="0"/>
              <a:t>Click to edit Master title style</a:t>
            </a:r>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a:t>Click to add subtitle</a:t>
            </a:r>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Footer Placeholder 1"/>
          <p:cNvSpPr>
            <a:spLocks noGrp="1"/>
          </p:cNvSpPr>
          <p:nvPr>
            <p:ph type="ftr" sz="quarter" idx="14"/>
          </p:nvPr>
        </p:nvSpPr>
        <p:spPr/>
        <p:txBody>
          <a:bodyPr/>
          <a:lstStyle/>
          <a:p>
            <a:endParaRPr lang="en-GB" dirty="0">
              <a:solidFill>
                <a:srgbClr val="000000"/>
              </a:solidFill>
            </a:endParaRPr>
          </a:p>
        </p:txBody>
      </p:sp>
    </p:spTree>
    <p:extLst>
      <p:ext uri="{BB962C8B-B14F-4D97-AF65-F5344CB8AC3E}">
        <p14:creationId xmlns:p14="http://schemas.microsoft.com/office/powerpoint/2010/main" val="317860910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Copyright">
    <p:spTree>
      <p:nvGrpSpPr>
        <p:cNvPr id="1" name=""/>
        <p:cNvGrpSpPr/>
        <p:nvPr/>
      </p:nvGrpSpPr>
      <p:grpSpPr>
        <a:xfrm>
          <a:off x="0" y="0"/>
          <a:ext cx="0" cy="0"/>
          <a:chOff x="0" y="0"/>
          <a:chExt cx="0" cy="0"/>
        </a:xfrm>
      </p:grpSpPr>
      <p:sp>
        <p:nvSpPr>
          <p:cNvPr id="3" name="text" descr="{&quot;templafy&quot;:{&quot;id&quot;:&quot;462b6d92-6a68-4621-8c1a-ac35ec9cd547&quot;}}" title="UserProfile.LegalEntity.{{Form.InternalExternal.PowerpointPrefix}}_{{DocumentLanguage}}">
            <a:extLst>
              <a:ext uri="{FF2B5EF4-FFF2-40B4-BE49-F238E27FC236}">
                <a16:creationId xmlns:a16="http://schemas.microsoft.com/office/drawing/2014/main" id="{7FE1F645-A497-4FE6-8E5A-0456158C4C13}"/>
              </a:ext>
            </a:extLst>
          </p:cNvPr>
          <p:cNvSpPr txBox="1"/>
          <p:nvPr userDrawn="1"/>
        </p:nvSpPr>
        <p:spPr>
          <a:xfrm>
            <a:off x="475326" y="2519999"/>
            <a:ext cx="7623175" cy="3999600"/>
          </a:xfrm>
          <a:prstGeom prst="rect">
            <a:avLst/>
          </a:prstGeom>
          <a:noFill/>
        </p:spPr>
        <p:txBody>
          <a:bodyPr wrap="square" lIns="0" tIns="0" rIns="0" bIns="0" rtlCol="0" anchor="b" anchorCtr="0">
            <a:noAutofit/>
          </a:bodyPr>
          <a:lstStyle/>
          <a:p>
            <a:r>
              <a:rPr lang="en-GB" sz="900" kern="1200">
                <a:solidFill>
                  <a:schemeClr val="tx1"/>
                </a:solidFill>
                <a:effectLst/>
                <a:latin typeface="Calibri Light" panose="020F0302020204030204" pitchFamily="34" charset="0"/>
                <a:ea typeface="+mn-ea"/>
                <a:cs typeface="Calibri Light" panose="020F0302020204030204" pitchFamily="34" charset="0"/>
              </a:rPr>
              <a:t>This publication has been written in general terms and we recommend that you obtain professional advice before acting or refraining from action on any of the contents of this publication. Deloitte LLP accepts no liability for any loss occasioned to any person acting or refraining from action as a result of any material in this publication.
Deloitte LLP is a limited liability partnership registered in England and Wales with registered number OC303675 and its registered office at 1 New Street Square, London, EC4A 3HQ, United Kingdom. 
Deloitte LLP is the United Kingdom affiliate of Deloitte NSE LLP, a member firm of Deloitte Touche Tohmatsu Limited, a UK private company limited by guarantee (“DTTL”). DTTL and each of its member firms are legally separate and independent entities. DTTL and Deloitte NSE LLP do not provide services to clients. Please see www.deloitte.com/about to learn more about our global network of member firms.
© 2023 Deloitte LLP. All rights reserved.</a:t>
            </a:r>
          </a:p>
        </p:txBody>
      </p:sp>
      <p:pic>
        <p:nvPicPr>
          <p:cNvPr id="1121734110" name="image" descr="{&quot;templafy&quot;:{&quot;id&quot;:&quot;7c0f264e-28b5-41be-8994-3ec131aa70f4&quot;}}"/>
          <p:cNvPicPr>
            <a:picLocks noChangeAspect="1"/>
          </p:cNvPicPr>
          <p:nvPr/>
        </p:nvPicPr>
        <p:blipFill>
          <a:blip r:embed="rId2"/>
          <a:stretch>
            <a:fillRect/>
          </a:stretch>
        </p:blipFill>
        <p:spPr>
          <a:xfrm>
            <a:off x="501653" y="381175"/>
            <a:ext cx="2474871" cy="813600"/>
          </a:xfrm>
          <a:prstGeom prst="rect">
            <a:avLst/>
          </a:prstGeom>
        </p:spPr>
      </p:pic>
    </p:spTree>
    <p:extLst>
      <p:ext uri="{BB962C8B-B14F-4D97-AF65-F5344CB8AC3E}">
        <p14:creationId xmlns:p14="http://schemas.microsoft.com/office/powerpoint/2010/main" val="146843818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02947957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9" indent="0" algn="ctr">
              <a:buNone/>
              <a:defRPr sz="2000"/>
            </a:lvl2pPr>
            <a:lvl3pPr marL="914418" indent="0" algn="ctr">
              <a:buNone/>
              <a:defRPr sz="1800"/>
            </a:lvl3pPr>
            <a:lvl4pPr marL="1371627" indent="0" algn="ctr">
              <a:buNone/>
              <a:defRPr sz="1600"/>
            </a:lvl4pPr>
            <a:lvl5pPr marL="1828837" indent="0" algn="ctr">
              <a:buNone/>
              <a:defRPr sz="1600"/>
            </a:lvl5pPr>
            <a:lvl6pPr marL="2286046" indent="0" algn="ctr">
              <a:buNone/>
              <a:defRPr sz="1600"/>
            </a:lvl6pPr>
            <a:lvl7pPr marL="2743255" indent="0" algn="ctr">
              <a:buNone/>
              <a:defRPr sz="1600"/>
            </a:lvl7pPr>
            <a:lvl8pPr marL="3200464" indent="0" algn="ctr">
              <a:buNone/>
              <a:defRPr sz="1600"/>
            </a:lvl8pPr>
            <a:lvl9pPr marL="365767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15262240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29660483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solidFill>
              </a:defRPr>
            </a:lvl1pPr>
            <a:lvl2pPr marL="457209" indent="0">
              <a:buNone/>
              <a:defRPr sz="2000">
                <a:solidFill>
                  <a:schemeClr val="tx1">
                    <a:tint val="75000"/>
                  </a:schemeClr>
                </a:solidFill>
              </a:defRPr>
            </a:lvl2pPr>
            <a:lvl3pPr marL="914418" indent="0">
              <a:buNone/>
              <a:defRPr sz="1800">
                <a:solidFill>
                  <a:schemeClr val="tx1">
                    <a:tint val="75000"/>
                  </a:schemeClr>
                </a:solidFill>
              </a:defRPr>
            </a:lvl3pPr>
            <a:lvl4pPr marL="1371627" indent="0">
              <a:buNone/>
              <a:defRPr sz="1600">
                <a:solidFill>
                  <a:schemeClr val="tx1">
                    <a:tint val="75000"/>
                  </a:schemeClr>
                </a:solidFill>
              </a:defRPr>
            </a:lvl4pPr>
            <a:lvl5pPr marL="1828837" indent="0">
              <a:buNone/>
              <a:defRPr sz="1600">
                <a:solidFill>
                  <a:schemeClr val="tx1">
                    <a:tint val="75000"/>
                  </a:schemeClr>
                </a:solidFill>
              </a:defRPr>
            </a:lvl5pPr>
            <a:lvl6pPr marL="2286046" indent="0">
              <a:buNone/>
              <a:defRPr sz="1600">
                <a:solidFill>
                  <a:schemeClr val="tx1">
                    <a:tint val="75000"/>
                  </a:schemeClr>
                </a:solidFill>
              </a:defRPr>
            </a:lvl6pPr>
            <a:lvl7pPr marL="2743255" indent="0">
              <a:buNone/>
              <a:defRPr sz="1600">
                <a:solidFill>
                  <a:schemeClr val="tx1">
                    <a:tint val="75000"/>
                  </a:schemeClr>
                </a:solidFill>
              </a:defRPr>
            </a:lvl7pPr>
            <a:lvl8pPr marL="3200464" indent="0">
              <a:buNone/>
              <a:defRPr sz="1600">
                <a:solidFill>
                  <a:schemeClr val="tx1">
                    <a:tint val="75000"/>
                  </a:schemeClr>
                </a:solidFill>
              </a:defRPr>
            </a:lvl8pPr>
            <a:lvl9pPr marL="3657673"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36744229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182880" tIns="182880" rIns="182880" bIns="182880" rtlCol="0">
            <a:normAutofit/>
          </a:bodyPr>
          <a:lstStyle>
            <a:lvl1pPr>
              <a:defRPr>
                <a:latin typeface="+mj-lt"/>
              </a:defRPr>
            </a:lvl1pPr>
            <a:lvl2pPr>
              <a:defRPr>
                <a:latin typeface="+mj-lt"/>
              </a:defRPr>
            </a:lvl2pPr>
            <a:lvl3pPr>
              <a:defRPr>
                <a:latin typeface="+mn-lt"/>
              </a:defRPr>
            </a:lvl3pPr>
            <a:lvl4pPr>
              <a:defRPr>
                <a:latin typeface="+mn-lt"/>
              </a:defRPr>
            </a:lvl4pPr>
            <a:lvl5pPr>
              <a:defRPr>
                <a:latin typeface="+mn-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p>
        </p:txBody>
      </p:sp>
      <p:sp>
        <p:nvSpPr>
          <p:cNvPr id="4" name="Text Placeholder 8">
            <a:extLst>
              <a:ext uri="{FF2B5EF4-FFF2-40B4-BE49-F238E27FC236}">
                <a16:creationId xmlns:a16="http://schemas.microsoft.com/office/drawing/2014/main" id="{32D9F8E6-4634-4128-96B3-16DEAB1925F6}"/>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5" name="Title 1">
            <a:extLst>
              <a:ext uri="{FF2B5EF4-FFF2-40B4-BE49-F238E27FC236}">
                <a16:creationId xmlns:a16="http://schemas.microsoft.com/office/drawing/2014/main" id="{BC973D8F-8952-4940-97C1-FF03EA558E14}"/>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
        <p:nvSpPr>
          <p:cNvPr id="2" name="TextBox 1">
            <a:extLst>
              <a:ext uri="{FF2B5EF4-FFF2-40B4-BE49-F238E27FC236}">
                <a16:creationId xmlns:a16="http://schemas.microsoft.com/office/drawing/2014/main" id="{76A1B3D0-9341-190E-2EC2-0A910281CFCA}"/>
              </a:ext>
            </a:extLst>
          </p:cNvPr>
          <p:cNvSpPr txBox="1"/>
          <p:nvPr userDrawn="1"/>
        </p:nvSpPr>
        <p:spPr>
          <a:xfrm>
            <a:off x="501650" y="6536661"/>
            <a:ext cx="6094206" cy="215444"/>
          </a:xfrm>
          <a:prstGeom prst="rect">
            <a:avLst/>
          </a:prstGeom>
          <a:noFill/>
        </p:spPr>
        <p:txBody>
          <a:bodyPr wrap="square">
            <a:spAutoFit/>
          </a:bodyPr>
          <a:lstStyle/>
          <a:p>
            <a:r>
              <a:rPr lang="en-GB" sz="800" noProof="0" dirty="0">
                <a:solidFill>
                  <a:srgbClr val="020203"/>
                </a:solidFill>
                <a:latin typeface="Calibri" panose="020F0502020204030204" pitchFamily="34" charset="0"/>
                <a:cs typeface="Calibri" panose="020F0502020204030204" pitchFamily="34" charset="0"/>
              </a:rPr>
              <a:t>© 2024 Deloitte LLP. All rights reserved</a:t>
            </a:r>
            <a:endParaRPr lang="en-GB" sz="800" dirty="0"/>
          </a:p>
        </p:txBody>
      </p:sp>
    </p:spTree>
    <p:extLst>
      <p:ext uri="{BB962C8B-B14F-4D97-AF65-F5344CB8AC3E}">
        <p14:creationId xmlns:p14="http://schemas.microsoft.com/office/powerpoint/2010/main" val="1071452732"/>
      </p:ext>
    </p:extLst>
  </p:cSld>
  <p:clrMapOvr>
    <a:masterClrMapping/>
  </p:clrMapOvr>
  <p:transition>
    <p:fade/>
  </p:transition>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19847800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6"/>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9" indent="0">
              <a:buNone/>
              <a:defRPr sz="2000" b="1"/>
            </a:lvl2pPr>
            <a:lvl3pPr marL="914418" indent="0">
              <a:buNone/>
              <a:defRPr sz="1800" b="1"/>
            </a:lvl3pPr>
            <a:lvl4pPr marL="1371627" indent="0">
              <a:buNone/>
              <a:defRPr sz="1600" b="1"/>
            </a:lvl4pPr>
            <a:lvl5pPr marL="1828837" indent="0">
              <a:buNone/>
              <a:defRPr sz="1600" b="1"/>
            </a:lvl5pPr>
            <a:lvl6pPr marL="2286046" indent="0">
              <a:buNone/>
              <a:defRPr sz="1600" b="1"/>
            </a:lvl6pPr>
            <a:lvl7pPr marL="2743255" indent="0">
              <a:buNone/>
              <a:defRPr sz="1600" b="1"/>
            </a:lvl7pPr>
            <a:lvl8pPr marL="3200464" indent="0">
              <a:buNone/>
              <a:defRPr sz="1600" b="1"/>
            </a:lvl8pPr>
            <a:lvl9pPr marL="3657673"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1788942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39793384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7796866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27094615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9" indent="0">
              <a:buNone/>
              <a:defRPr sz="2800"/>
            </a:lvl2pPr>
            <a:lvl3pPr marL="914418" indent="0">
              <a:buNone/>
              <a:defRPr sz="2400"/>
            </a:lvl3pPr>
            <a:lvl4pPr marL="1371627" indent="0">
              <a:buNone/>
              <a:defRPr sz="2000"/>
            </a:lvl4pPr>
            <a:lvl5pPr marL="1828837" indent="0">
              <a:buNone/>
              <a:defRPr sz="2000"/>
            </a:lvl5pPr>
            <a:lvl6pPr marL="2286046" indent="0">
              <a:buNone/>
              <a:defRPr sz="2000"/>
            </a:lvl6pPr>
            <a:lvl7pPr marL="2743255" indent="0">
              <a:buNone/>
              <a:defRPr sz="2000"/>
            </a:lvl7pPr>
            <a:lvl8pPr marL="3200464" indent="0">
              <a:buNone/>
              <a:defRPr sz="2000"/>
            </a:lvl8pPr>
            <a:lvl9pPr marL="3657673" indent="0">
              <a:buNone/>
              <a:defRPr sz="2000"/>
            </a:lvl9pPr>
          </a:lstStyle>
          <a:p>
            <a:r>
              <a:rPr lang="en-US" dirty="0"/>
              <a:t>Click icon to add picture</a:t>
            </a:r>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09" indent="0">
              <a:buNone/>
              <a:defRPr sz="1400"/>
            </a:lvl2pPr>
            <a:lvl3pPr marL="914418" indent="0">
              <a:buNone/>
              <a:defRPr sz="1200"/>
            </a:lvl3pPr>
            <a:lvl4pPr marL="1371627" indent="0">
              <a:buNone/>
              <a:defRPr sz="1000"/>
            </a:lvl4pPr>
            <a:lvl5pPr marL="1828837" indent="0">
              <a:buNone/>
              <a:defRPr sz="1000"/>
            </a:lvl5pPr>
            <a:lvl6pPr marL="2286046" indent="0">
              <a:buNone/>
              <a:defRPr sz="1000"/>
            </a:lvl6pPr>
            <a:lvl7pPr marL="2743255" indent="0">
              <a:buNone/>
              <a:defRPr sz="1000"/>
            </a:lvl7pPr>
            <a:lvl8pPr marL="3200464" indent="0">
              <a:buNone/>
              <a:defRPr sz="1000"/>
            </a:lvl8pPr>
            <a:lvl9pPr marL="365767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1377273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5349045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23BC8F-8B3D-4159-9827-CA5CA1A2B6AB}" type="datetimeFigureOut">
              <a:rPr lang="en-GB" smtClean="0"/>
              <a:t>15/05/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B93A66D-E986-4612-BD04-C3BB50CA9267}" type="slidenum">
              <a:rPr lang="en-GB" smtClean="0"/>
              <a:t>‹#›</a:t>
            </a:fld>
            <a:endParaRPr lang="en-GB" dirty="0"/>
          </a:p>
        </p:txBody>
      </p:sp>
    </p:spTree>
    <p:extLst>
      <p:ext uri="{BB962C8B-B14F-4D97-AF65-F5344CB8AC3E}">
        <p14:creationId xmlns:p14="http://schemas.microsoft.com/office/powerpoint/2010/main" val="9747694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_black">
    <p:bg>
      <p:bgPr>
        <a:solidFill>
          <a:schemeClr val="tx1"/>
        </a:solidFill>
        <a:effectLst/>
      </p:bgPr>
    </p:bg>
    <p:spTree>
      <p:nvGrpSpPr>
        <p:cNvPr id="1" name=""/>
        <p:cNvGrpSpPr/>
        <p:nvPr/>
      </p:nvGrpSpPr>
      <p:grpSpPr>
        <a:xfrm>
          <a:off x="0" y="0"/>
          <a:ext cx="0" cy="0"/>
          <a:chOff x="0" y="0"/>
          <a:chExt cx="0" cy="0"/>
        </a:xfrm>
      </p:grpSpPr>
      <p:sp>
        <p:nvSpPr>
          <p:cNvPr id="8" name="Text Placeholder 18"/>
          <p:cNvSpPr>
            <a:spLocks noGrp="1"/>
          </p:cNvSpPr>
          <p:nvPr>
            <p:ph idx="1"/>
          </p:nvPr>
        </p:nvSpPr>
        <p:spPr>
          <a:xfrm>
            <a:off x="501651" y="1700213"/>
            <a:ext cx="11165416" cy="4678986"/>
          </a:xfrm>
          <a:prstGeom prst="rect">
            <a:avLst/>
          </a:prstGeom>
        </p:spPr>
        <p:txBody>
          <a:bodyPr vert="horz" lIns="182880" tIns="182880" rIns="182880" bIns="182880" rtlCol="0">
            <a:normAutofit/>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p>
        </p:txBody>
      </p:sp>
      <p:sp>
        <p:nvSpPr>
          <p:cNvPr id="7" name="TextBox 6">
            <a:extLst>
              <a:ext uri="{FF2B5EF4-FFF2-40B4-BE49-F238E27FC236}">
                <a16:creationId xmlns:a16="http://schemas.microsoft.com/office/drawing/2014/main" id="{05BE989B-C09B-4026-9E62-E689E5CE0890}"/>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bg1"/>
              </a:solidFill>
              <a:latin typeface="Calibri" panose="020F0502020204030204" pitchFamily="34" charset="0"/>
              <a:cs typeface="Calibri" panose="020F0502020204030204" pitchFamily="34" charset="0"/>
            </a:endParaRPr>
          </a:p>
        </p:txBody>
      </p:sp>
      <p:sp>
        <p:nvSpPr>
          <p:cNvPr id="10" name="Text Placeholder 8">
            <a:extLst>
              <a:ext uri="{FF2B5EF4-FFF2-40B4-BE49-F238E27FC236}">
                <a16:creationId xmlns:a16="http://schemas.microsoft.com/office/drawing/2014/main" id="{AFAEB9C6-EEC7-4CE3-A115-01EDDAA0B38B}"/>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1" name="Title 1">
            <a:extLst>
              <a:ext uri="{FF2B5EF4-FFF2-40B4-BE49-F238E27FC236}">
                <a16:creationId xmlns:a16="http://schemas.microsoft.com/office/drawing/2014/main" id="{81EB5EAE-D4BA-458F-9214-BCD68B9EFB5F}"/>
              </a:ext>
            </a:extLst>
          </p:cNvPr>
          <p:cNvSpPr>
            <a:spLocks noGrp="1"/>
          </p:cNvSpPr>
          <p:nvPr>
            <p:ph type="title" hasCustomPrompt="1"/>
          </p:nvPr>
        </p:nvSpPr>
        <p:spPr>
          <a:xfrm>
            <a:off x="501651" y="307341"/>
            <a:ext cx="11188700" cy="439317"/>
          </a:xfrm>
        </p:spPr>
        <p:txBody>
          <a:bodyPr>
            <a:noAutofit/>
          </a:bodyPr>
          <a:lstStyle>
            <a:lvl1pPr>
              <a:defRPr>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212488357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atin typeface="+mj-lt"/>
              </a:defRPr>
            </a:lvl1pPr>
            <a:lvl2pPr>
              <a:tabLst>
                <a:tab pos="5029200" algn="r"/>
              </a:tabLst>
              <a:defRPr>
                <a:latin typeface="+mj-lt"/>
              </a:defRPr>
            </a:lvl2pPr>
            <a:lvl3pPr>
              <a:tabLst>
                <a:tab pos="5029200" algn="r"/>
              </a:tabLst>
              <a:defRPr>
                <a:latin typeface="+mj-lt"/>
              </a:defRPr>
            </a:lvl3pPr>
            <a:lvl4pPr>
              <a:tabLst>
                <a:tab pos="5029200" algn="r"/>
              </a:tabLst>
              <a:defRPr>
                <a:latin typeface="+mj-lt"/>
              </a:defRPr>
            </a:lvl4pPr>
            <a:lvl5pPr>
              <a:tabLst>
                <a:tab pos="5029200" algn="r"/>
              </a:tabLst>
              <a:defRPr baseline="0">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atin typeface="+mj-lt"/>
              </a:defRPr>
            </a:lvl1pPr>
            <a:lvl2pPr>
              <a:tabLst>
                <a:tab pos="5029200" algn="r"/>
              </a:tabLst>
              <a:defRPr>
                <a:latin typeface="+mj-lt"/>
              </a:defRPr>
            </a:lvl2pPr>
            <a:lvl3pPr>
              <a:tabLst>
                <a:tab pos="5029200" algn="r"/>
              </a:tabLst>
              <a:defRPr>
                <a:latin typeface="+mj-lt"/>
              </a:defRPr>
            </a:lvl3pPr>
            <a:lvl4pPr>
              <a:tabLst>
                <a:tab pos="5029200" algn="r"/>
              </a:tabLst>
              <a:defRPr>
                <a:latin typeface="+mj-lt"/>
              </a:defRPr>
            </a:lvl4pPr>
            <a:lvl5pPr>
              <a:tabLst>
                <a:tab pos="5029200" algn="r"/>
              </a:tabLst>
              <a:defRPr baseline="0">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6" name="Text Placeholder 8">
            <a:extLst>
              <a:ext uri="{FF2B5EF4-FFF2-40B4-BE49-F238E27FC236}">
                <a16:creationId xmlns:a16="http://schemas.microsoft.com/office/drawing/2014/main" id="{4DCDB4B1-C63A-4B29-823B-963532F62330}"/>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7" name="Title 1">
            <a:extLst>
              <a:ext uri="{FF2B5EF4-FFF2-40B4-BE49-F238E27FC236}">
                <a16:creationId xmlns:a16="http://schemas.microsoft.com/office/drawing/2014/main" id="{5E4A4F27-72C0-49F9-A37D-C04DED18A3F6}"/>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66434826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content">
    <p:bg>
      <p:bgPr>
        <a:solidFill>
          <a:schemeClr val="tx1"/>
        </a:solidFill>
        <a:effectLst/>
      </p:bgPr>
    </p:bg>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solidFill>
                  <a:schemeClr val="bg1"/>
                </a:solidFill>
                <a:latin typeface="+mj-lt"/>
              </a:defRPr>
            </a:lvl1pPr>
            <a:lvl2pPr>
              <a:tabLst>
                <a:tab pos="5029200" algn="r"/>
              </a:tabLst>
              <a:defRPr>
                <a:solidFill>
                  <a:schemeClr val="bg1"/>
                </a:solidFill>
                <a:latin typeface="+mj-lt"/>
              </a:defRPr>
            </a:lvl2pPr>
            <a:lvl3pPr>
              <a:tabLst>
                <a:tab pos="5029200" algn="r"/>
              </a:tabLst>
              <a:defRPr>
                <a:solidFill>
                  <a:schemeClr val="bg1"/>
                </a:solidFill>
                <a:latin typeface="+mj-lt"/>
              </a:defRPr>
            </a:lvl3pPr>
            <a:lvl4pPr>
              <a:tabLst>
                <a:tab pos="5029200" algn="r"/>
              </a:tabLst>
              <a:defRPr>
                <a:solidFill>
                  <a:schemeClr val="bg1"/>
                </a:solidFill>
                <a:latin typeface="+mj-lt"/>
              </a:defRPr>
            </a:lvl4pPr>
            <a:lvl5pPr>
              <a:tabLst>
                <a:tab pos="5029200" algn="r"/>
              </a:tabLst>
              <a:defRPr baseline="0">
                <a:solidFill>
                  <a:schemeClr val="bg1"/>
                </a:solidFill>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solidFill>
                  <a:schemeClr val="bg1"/>
                </a:solidFill>
                <a:latin typeface="+mj-lt"/>
              </a:defRPr>
            </a:lvl1pPr>
            <a:lvl2pPr>
              <a:tabLst>
                <a:tab pos="5029200" algn="r"/>
              </a:tabLst>
              <a:defRPr>
                <a:solidFill>
                  <a:schemeClr val="bg1"/>
                </a:solidFill>
                <a:latin typeface="+mj-lt"/>
              </a:defRPr>
            </a:lvl2pPr>
            <a:lvl3pPr>
              <a:tabLst>
                <a:tab pos="5029200" algn="r"/>
              </a:tabLst>
              <a:defRPr>
                <a:solidFill>
                  <a:schemeClr val="bg1"/>
                </a:solidFill>
                <a:latin typeface="+mj-lt"/>
              </a:defRPr>
            </a:lvl3pPr>
            <a:lvl4pPr>
              <a:tabLst>
                <a:tab pos="5029200" algn="r"/>
              </a:tabLst>
              <a:defRPr>
                <a:solidFill>
                  <a:schemeClr val="bg1"/>
                </a:solidFill>
                <a:latin typeface="+mj-lt"/>
              </a:defRPr>
            </a:lvl4pPr>
            <a:lvl5pPr>
              <a:tabLst>
                <a:tab pos="5029200" algn="r"/>
              </a:tabLst>
              <a:defRPr baseline="0">
                <a:solidFill>
                  <a:schemeClr val="bg1"/>
                </a:solidFill>
                <a:latin typeface="+mj-lt"/>
              </a:defRPr>
            </a:lvl5p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12" name="Text Placeholder 8">
            <a:extLst>
              <a:ext uri="{FF2B5EF4-FFF2-40B4-BE49-F238E27FC236}">
                <a16:creationId xmlns:a16="http://schemas.microsoft.com/office/drawing/2014/main" id="{BA6528BD-037F-45AA-A159-CE3F98B4ACB2}"/>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3" name="Title 1">
            <a:extLst>
              <a:ext uri="{FF2B5EF4-FFF2-40B4-BE49-F238E27FC236}">
                <a16:creationId xmlns:a16="http://schemas.microsoft.com/office/drawing/2014/main" id="{4245CD9C-6D63-4D06-BE78-06F0395CA23C}"/>
              </a:ext>
            </a:extLst>
          </p:cNvPr>
          <p:cNvSpPr>
            <a:spLocks noGrp="1"/>
          </p:cNvSpPr>
          <p:nvPr>
            <p:ph type="title" hasCustomPrompt="1"/>
          </p:nvPr>
        </p:nvSpPr>
        <p:spPr>
          <a:xfrm>
            <a:off x="501651" y="307341"/>
            <a:ext cx="11188700" cy="439317"/>
          </a:xfrm>
        </p:spPr>
        <p:txBody>
          <a:bodyPr>
            <a:noAutofit/>
          </a:bodyPr>
          <a:lstStyle>
            <a:lvl1pPr>
              <a:defRPr>
                <a:solidFill>
                  <a:schemeClr val="bg1"/>
                </a:solidFill>
                <a:latin typeface="+mj-lt"/>
              </a:defRPr>
            </a:lvl1pPr>
          </a:lstStyle>
          <a:p>
            <a:r>
              <a:rPr lang="en-GB" dirty="0"/>
              <a:t>Click to add title</a:t>
            </a:r>
            <a:endParaRPr lang="en-GB"/>
          </a:p>
        </p:txBody>
      </p:sp>
    </p:spTree>
    <p:extLst>
      <p:ext uri="{BB962C8B-B14F-4D97-AF65-F5344CB8AC3E}">
        <p14:creationId xmlns:p14="http://schemas.microsoft.com/office/powerpoint/2010/main" val="49518592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182880" tIns="182880" rIns="182880" bIns="182880" rtlCol="0">
            <a:norm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Text Placeholder 8">
            <a:extLst>
              <a:ext uri="{FF2B5EF4-FFF2-40B4-BE49-F238E27FC236}">
                <a16:creationId xmlns:a16="http://schemas.microsoft.com/office/drawing/2014/main" id="{8E194C63-94ED-4C93-8D7D-F70B2B70705A}"/>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tx1"/>
                </a:solidFill>
                <a:latin typeface="+mj-lt"/>
              </a:defRPr>
            </a:lvl1pPr>
          </a:lstStyle>
          <a:p>
            <a:pPr lvl="0"/>
            <a:r>
              <a:rPr lang="en-GB" dirty="0"/>
              <a:t>Click to add subtitle</a:t>
            </a:r>
            <a:endParaRPr lang="en-GB"/>
          </a:p>
        </p:txBody>
      </p:sp>
      <p:sp>
        <p:nvSpPr>
          <p:cNvPr id="11" name="Title 1">
            <a:extLst>
              <a:ext uri="{FF2B5EF4-FFF2-40B4-BE49-F238E27FC236}">
                <a16:creationId xmlns:a16="http://schemas.microsoft.com/office/drawing/2014/main" id="{41E21696-F330-4A4F-A061-2D991F26CC9C}"/>
              </a:ext>
            </a:extLst>
          </p:cNvPr>
          <p:cNvSpPr>
            <a:spLocks noGrp="1"/>
          </p:cNvSpPr>
          <p:nvPr>
            <p:ph type="title" hasCustomPrompt="1"/>
          </p:nvPr>
        </p:nvSpPr>
        <p:spPr>
          <a:xfrm>
            <a:off x="501651" y="307341"/>
            <a:ext cx="11188700" cy="439317"/>
          </a:xfrm>
        </p:spPr>
        <p:txBody>
          <a:bodyPr>
            <a:noAutofit/>
          </a:bodyPr>
          <a:lstStyle>
            <a:lvl1pPr>
              <a:defRPr>
                <a:solidFill>
                  <a:schemeClr val="tx1"/>
                </a:solidFill>
              </a:defRPr>
            </a:lvl1pPr>
          </a:lstStyle>
          <a:p>
            <a:r>
              <a:rPr lang="en-GB" dirty="0"/>
              <a:t>Click to add title</a:t>
            </a:r>
            <a:endParaRPr lang="en-GB"/>
          </a:p>
        </p:txBody>
      </p:sp>
    </p:spTree>
    <p:extLst>
      <p:ext uri="{BB962C8B-B14F-4D97-AF65-F5344CB8AC3E}">
        <p14:creationId xmlns:p14="http://schemas.microsoft.com/office/powerpoint/2010/main" val="112532270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_black">
    <p:bg>
      <p:bgPr>
        <a:solidFill>
          <a:schemeClr val="tx1"/>
        </a:solidFill>
        <a:effectLst/>
      </p:bgPr>
    </p:bg>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182880" tIns="182880" rIns="182880" bIns="182880" rtlCol="0">
            <a:normAutofit/>
          </a:bodyPr>
          <a:lstStyle>
            <a:lvl1pPr>
              <a:defRPr>
                <a:solidFill>
                  <a:schemeClr val="bg1"/>
                </a:solidFill>
                <a:latin typeface="+mj-lt"/>
              </a:defRPr>
            </a:lvl1pPr>
            <a:lvl2pPr>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GB" dirty="0"/>
              <a:t>Click to edit Master text styles</a:t>
            </a:r>
            <a:endParaRPr lang="en-GB"/>
          </a:p>
          <a:p>
            <a:pPr lvl="1"/>
            <a:r>
              <a:rPr lang="en-GB" dirty="0"/>
              <a:t>Second level</a:t>
            </a:r>
            <a:endParaRPr lang="en-GB"/>
          </a:p>
          <a:p>
            <a:pPr lvl="2"/>
            <a:r>
              <a:rPr lang="en-GB" dirty="0"/>
              <a:t>Third level</a:t>
            </a:r>
            <a:endParaRPr lang="en-GB"/>
          </a:p>
          <a:p>
            <a:pPr lvl="3"/>
            <a:r>
              <a:rPr lang="en-GB" dirty="0"/>
              <a:t>Fourth level</a:t>
            </a:r>
            <a:endParaRPr lang="en-GB"/>
          </a:p>
          <a:p>
            <a:pPr lvl="4"/>
            <a:r>
              <a:rPr lang="en-GB" dirty="0"/>
              <a:t>Fifth level</a:t>
            </a:r>
          </a:p>
        </p:txBody>
      </p:sp>
      <p:sp>
        <p:nvSpPr>
          <p:cNvPr id="7" name="Text Placeholder 8">
            <a:extLst>
              <a:ext uri="{FF2B5EF4-FFF2-40B4-BE49-F238E27FC236}">
                <a16:creationId xmlns:a16="http://schemas.microsoft.com/office/drawing/2014/main" id="{8E194C63-94ED-4C93-8D7D-F70B2B70705A}"/>
              </a:ext>
            </a:extLst>
          </p:cNvPr>
          <p:cNvSpPr>
            <a:spLocks noGrp="1"/>
          </p:cNvSpPr>
          <p:nvPr>
            <p:ph type="body" sz="quarter" idx="13" hasCustomPrompt="1"/>
          </p:nvPr>
        </p:nvSpPr>
        <p:spPr>
          <a:xfrm>
            <a:off x="501651" y="837476"/>
            <a:ext cx="11162349" cy="439317"/>
          </a:xfrm>
          <a:prstGeom prst="rect">
            <a:avLst/>
          </a:prstGeom>
        </p:spPr>
        <p:txBody>
          <a:bodyPr lIns="182880" tIns="182880" rIns="182880" bIns="182880">
            <a:noAutofit/>
          </a:bodyPr>
          <a:lstStyle>
            <a:lvl1pPr marL="0" indent="0">
              <a:buNone/>
              <a:defRPr sz="1800" b="0">
                <a:solidFill>
                  <a:schemeClr val="bg1"/>
                </a:solidFill>
                <a:latin typeface="+mj-lt"/>
              </a:defRPr>
            </a:lvl1pPr>
          </a:lstStyle>
          <a:p>
            <a:pPr lvl="0"/>
            <a:r>
              <a:rPr lang="en-GB" dirty="0"/>
              <a:t>Click to add subtitle</a:t>
            </a:r>
            <a:endParaRPr lang="en-GB"/>
          </a:p>
        </p:txBody>
      </p:sp>
      <p:sp>
        <p:nvSpPr>
          <p:cNvPr id="11" name="Title 1">
            <a:extLst>
              <a:ext uri="{FF2B5EF4-FFF2-40B4-BE49-F238E27FC236}">
                <a16:creationId xmlns:a16="http://schemas.microsoft.com/office/drawing/2014/main" id="{41E21696-F330-4A4F-A061-2D991F26CC9C}"/>
              </a:ext>
            </a:extLst>
          </p:cNvPr>
          <p:cNvSpPr>
            <a:spLocks noGrp="1"/>
          </p:cNvSpPr>
          <p:nvPr>
            <p:ph type="title" hasCustomPrompt="1"/>
          </p:nvPr>
        </p:nvSpPr>
        <p:spPr>
          <a:xfrm>
            <a:off x="501651" y="307341"/>
            <a:ext cx="11188700" cy="439317"/>
          </a:xfrm>
        </p:spPr>
        <p:txBody>
          <a:bodyPr>
            <a:noAutofit/>
          </a:bodyPr>
          <a:lstStyle>
            <a:lvl1pPr>
              <a:defRPr>
                <a:solidFill>
                  <a:schemeClr val="bg1"/>
                </a:solidFill>
              </a:defRPr>
            </a:lvl1pPr>
          </a:lstStyle>
          <a:p>
            <a:r>
              <a:rPr lang="en-GB" dirty="0"/>
              <a:t>Click to add title</a:t>
            </a:r>
            <a:endParaRPr lang="en-GB"/>
          </a:p>
        </p:txBody>
      </p:sp>
    </p:spTree>
    <p:extLst>
      <p:ext uri="{BB962C8B-B14F-4D97-AF65-F5344CB8AC3E}">
        <p14:creationId xmlns:p14="http://schemas.microsoft.com/office/powerpoint/2010/main" val="650225409"/>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oleObject" Target="../embeddings/oleObject2.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3.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extLst>
              <p:ext uri="{D42A27DB-BD31-4B8C-83A1-F6EECF244321}">
                <p14:modId xmlns:p14="http://schemas.microsoft.com/office/powerpoint/2010/main" val="36365733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4" name="Object 3" hidden="1"/>
                      <p:cNvPicPr/>
                      <p:nvPr/>
                    </p:nvPicPr>
                    <p:blipFill>
                      <a:blip r:embed="rId2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0" y="321339"/>
            <a:ext cx="11188700" cy="432000"/>
          </a:xfrm>
          <a:prstGeom prst="rect">
            <a:avLst/>
          </a:prstGeom>
        </p:spPr>
        <p:txBody>
          <a:bodyPr vert="horz" lIns="182880" tIns="182880" rIns="182880" bIns="182880" rtlCol="0" anchor="t" anchorCtr="0">
            <a:noAutofit/>
          </a:bodyPr>
          <a:lstStyle/>
          <a:p>
            <a:r>
              <a:rPr lang="en-GB" noProof="0" dirty="0"/>
              <a:t>Click to edit Master title style</a:t>
            </a:r>
            <a:endParaRPr lang="en-GB"/>
          </a:p>
        </p:txBody>
      </p:sp>
      <p:sp>
        <p:nvSpPr>
          <p:cNvPr id="19" name="Text Placeholder 18"/>
          <p:cNvSpPr>
            <a:spLocks noGrp="1"/>
          </p:cNvSpPr>
          <p:nvPr>
            <p:ph type="body" idx="1"/>
          </p:nvPr>
        </p:nvSpPr>
        <p:spPr>
          <a:xfrm>
            <a:off x="501650" y="1665289"/>
            <a:ext cx="11188700" cy="4716462"/>
          </a:xfrm>
          <a:prstGeom prst="rect">
            <a:avLst/>
          </a:prstGeom>
        </p:spPr>
        <p:txBody>
          <a:bodyPr vert="horz" lIns="182880" tIns="182880" rIns="182880" bIns="182880" rtlCol="0">
            <a:normAutofit/>
          </a:bodyPr>
          <a:lstStyle/>
          <a:p>
            <a:pPr lvl="0"/>
            <a:r>
              <a:rPr lang="en-GB" noProof="0" dirty="0"/>
              <a:t>Click to edit Master text styles</a:t>
            </a:r>
            <a:endParaRPr lang="en-GB"/>
          </a:p>
          <a:p>
            <a:pPr lvl="1"/>
            <a:r>
              <a:rPr lang="en-GB" noProof="0" dirty="0"/>
              <a:t>Second level</a:t>
            </a:r>
            <a:endParaRPr lang="en-GB"/>
          </a:p>
          <a:p>
            <a:pPr lvl="2"/>
            <a:r>
              <a:rPr lang="en-GB" noProof="0" dirty="0"/>
              <a:t>Third level</a:t>
            </a:r>
            <a:endParaRPr lang="en-GB"/>
          </a:p>
          <a:p>
            <a:pPr lvl="3"/>
            <a:r>
              <a:rPr lang="en-GB" noProof="0" dirty="0"/>
              <a:t>Fourth level</a:t>
            </a:r>
            <a:endParaRPr lang="en-GB"/>
          </a:p>
          <a:p>
            <a:pPr lvl="4"/>
            <a:r>
              <a:rPr lang="en-GB" noProof="0" dirty="0"/>
              <a:t>Fifth level</a:t>
            </a:r>
            <a:endParaRPr lang="en-GB"/>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46303637"/>
      </p:ext>
    </p:extLst>
  </p:cSld>
  <p:clrMap bg1="lt1" tx1="dk1" bg2="lt2" tx2="dk2" accent1="accent1" accent2="accent2" accent3="accent3" accent4="accent4" accent5="accent5" accent6="accent6" hlink="hlink" folHlink="folHlink"/>
  <p:sldLayoutIdLst>
    <p:sldLayoutId id="2147483758" r:id="rId1"/>
    <p:sldLayoutId id="2147483812" r:id="rId2"/>
    <p:sldLayoutId id="2147483763" r:id="rId3"/>
    <p:sldLayoutId id="2147483766" r:id="rId4"/>
    <p:sldLayoutId id="2147483767" r:id="rId5"/>
    <p:sldLayoutId id="2147483771" r:id="rId6"/>
    <p:sldLayoutId id="2147483775" r:id="rId7"/>
    <p:sldLayoutId id="2147483785" r:id="rId8"/>
    <p:sldLayoutId id="2147483814" r:id="rId9"/>
    <p:sldLayoutId id="2147483681" r:id="rId10"/>
    <p:sldLayoutId id="2147483815" r:id="rId11"/>
    <p:sldLayoutId id="2147483808" r:id="rId12"/>
    <p:sldLayoutId id="2147483816" r:id="rId13"/>
    <p:sldLayoutId id="2147483811" r:id="rId14"/>
    <p:sldLayoutId id="2147483810" r:id="rId15"/>
    <p:sldLayoutId id="2147483759" r:id="rId16"/>
    <p:sldLayoutId id="2147483817" r:id="rId17"/>
    <p:sldLayoutId id="2147483819" r:id="rId18"/>
    <p:sldLayoutId id="2147483818" r:id="rId19"/>
    <p:sldLayoutId id="2147483806" r:id="rId20"/>
    <p:sldLayoutId id="2147483807" r:id="rId21"/>
    <p:sldLayoutId id="2147483820" r:id="rId22"/>
    <p:sldLayoutId id="2147483847" r:id="rId23"/>
  </p:sldLayoutIdLst>
  <p:transition>
    <p:fade/>
  </p:transition>
  <p:hf hdr="0" dt="0"/>
  <p:txStyles>
    <p:titleStyle>
      <a:lvl1pPr algn="l" defTabSz="914400" rtl="0" eaLnBrk="1" latinLnBrk="0" hangingPunct="1">
        <a:spcBef>
          <a:spcPct val="0"/>
        </a:spcBef>
        <a:buNone/>
        <a:defRPr sz="2400" kern="1200">
          <a:solidFill>
            <a:schemeClr val="tx1"/>
          </a:solidFill>
          <a:latin typeface="+mj-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400" b="0" kern="1200">
          <a:solidFill>
            <a:schemeClr val="tx1"/>
          </a:solidFill>
          <a:latin typeface="+mj-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4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4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4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4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userDrawn="1">
          <p15:clr>
            <a:srgbClr val="F26B43"/>
          </p15:clr>
        </p15:guide>
        <p15:guide id="24" orient="horz" pos="2160" userDrawn="1">
          <p15:clr>
            <a:srgbClr val="F26B43"/>
          </p15:clr>
        </p15:guide>
        <p15:guide id="25" orient="horz" pos="3968" userDrawn="1">
          <p15:clr>
            <a:srgbClr val="F26B43"/>
          </p15:clr>
        </p15:guide>
        <p15:guide id="26" pos="296" userDrawn="1">
          <p15:clr>
            <a:srgbClr val="F26B43"/>
          </p15:clr>
        </p15:guide>
        <p15:guide id="27" pos="7384" userDrawn="1">
          <p15:clr>
            <a:srgbClr val="F26B43"/>
          </p15:clr>
        </p15:guide>
        <p15:guide id="28" orient="horz" pos="1071" userDrawn="1">
          <p15:clr>
            <a:srgbClr val="F26B43"/>
          </p15:clr>
        </p15:guide>
        <p15:guide id="29" orient="horz" pos="245" userDrawn="1">
          <p15:clr>
            <a:srgbClr val="F26B43"/>
          </p15:clr>
        </p15:guide>
        <p15:guide id="30" orient="horz" pos="4081" userDrawn="1">
          <p15:clr>
            <a:srgbClr val="F26B43"/>
          </p15:clr>
        </p15:guide>
        <p15:guide id="31" pos="4986" userDrawn="1">
          <p15:clr>
            <a:srgbClr val="F26B43"/>
          </p15:clr>
        </p15:guide>
        <p15:guide id="32" pos="1382" userDrawn="1">
          <p15:clr>
            <a:srgbClr val="F26B43"/>
          </p15:clr>
        </p15:guide>
        <p15:guide id="33" pos="1496" userDrawn="1">
          <p15:clr>
            <a:srgbClr val="F26B43"/>
          </p15:clr>
        </p15:guide>
        <p15:guide id="34" pos="2581" userDrawn="1">
          <p15:clr>
            <a:srgbClr val="F26B43"/>
          </p15:clr>
        </p15:guide>
        <p15:guide id="35" pos="2695" userDrawn="1">
          <p15:clr>
            <a:srgbClr val="F26B43"/>
          </p15:clr>
        </p15:guide>
        <p15:guide id="36" pos="6185" userDrawn="1">
          <p15:clr>
            <a:srgbClr val="F26B43"/>
          </p15:clr>
        </p15:guide>
        <p15:guide id="37" pos="3783" userDrawn="1">
          <p15:clr>
            <a:srgbClr val="F26B43"/>
          </p15:clr>
        </p15:guide>
        <p15:guide id="38" pos="3896" userDrawn="1">
          <p15:clr>
            <a:srgbClr val="F26B43"/>
          </p15:clr>
        </p15:guide>
        <p15:guide id="39" pos="3840" userDrawn="1">
          <p15:clr>
            <a:srgbClr val="F26B43"/>
          </p15:clr>
        </p15:guide>
        <p15:guide id="40" pos="6299" userDrawn="1">
          <p15:clr>
            <a:srgbClr val="F26B43"/>
          </p15:clr>
        </p15:guide>
        <p15:guide id="41" orient="horz" pos="1049" userDrawn="1">
          <p15:clr>
            <a:srgbClr val="F26B43"/>
          </p15:clr>
        </p15:guide>
        <p15:guide id="42" orient="horz" pos="641" userDrawn="1">
          <p15:clr>
            <a:srgbClr val="F26B43"/>
          </p15:clr>
        </p15:guide>
        <p15:guide id="4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5"/>
            </p:custDataLst>
            <p:extLst>
              <p:ext uri="{D42A27DB-BD31-4B8C-83A1-F6EECF244321}">
                <p14:modId xmlns:p14="http://schemas.microsoft.com/office/powerpoint/2010/main" val="3206429901"/>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4" name="Object 3" hidden="1"/>
                      <p:cNvPicPr/>
                      <p:nvPr/>
                    </p:nvPicPr>
                    <p:blipFill>
                      <a:blip r:embed="rId1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57200" y="345664"/>
            <a:ext cx="11281285" cy="340136"/>
          </a:xfrm>
          <a:prstGeom prst="rect">
            <a:avLst/>
          </a:prstGeom>
        </p:spPr>
        <p:txBody>
          <a:bodyPr vert="horz" lIns="0" tIns="0" rIns="0" bIns="0" rtlCol="0" anchor="t" anchorCtr="0">
            <a:noAutofit/>
          </a:bodyPr>
          <a:lstStyle/>
          <a:p>
            <a:r>
              <a:rPr lang="en-GB" noProof="0" dirty="0"/>
              <a:t>Click to edit Master title style</a:t>
            </a:r>
          </a:p>
        </p:txBody>
      </p:sp>
      <p:sp>
        <p:nvSpPr>
          <p:cNvPr id="19" name="Text Placeholder 18"/>
          <p:cNvSpPr>
            <a:spLocks noGrp="1"/>
          </p:cNvSpPr>
          <p:nvPr>
            <p:ph type="body" idx="1"/>
          </p:nvPr>
        </p:nvSpPr>
        <p:spPr>
          <a:xfrm>
            <a:off x="460887" y="1714500"/>
            <a:ext cx="11277599" cy="4648200"/>
          </a:xfrm>
          <a:prstGeom prst="rect">
            <a:avLst/>
          </a:prstGeom>
        </p:spPr>
        <p:txBody>
          <a:bodyPr vert="horz" lIns="0" tIns="0" rIns="0" bIns="0" rtlCol="0">
            <a:norm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 name="TextBox 2"/>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GB" sz="800" noProof="0" smtClean="0">
                <a:solidFill>
                  <a:schemeClr val="tx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GB" sz="800" noProof="0" dirty="0">
              <a:solidFill>
                <a:schemeClr val="tx1"/>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56F2C54F-96F9-594D-9A63-DF395F0FDCCC}"/>
              </a:ext>
            </a:extLst>
          </p:cNvPr>
          <p:cNvSpPr txBox="1"/>
          <p:nvPr userDrawn="1"/>
        </p:nvSpPr>
        <p:spPr>
          <a:xfrm>
            <a:off x="469900" y="6486895"/>
            <a:ext cx="6096000" cy="100027"/>
          </a:xfrm>
          <a:prstGeom prst="rect">
            <a:avLst/>
          </a:prstGeom>
          <a:noFill/>
        </p:spPr>
        <p:txBody>
          <a:bodyPr wrap="square" lIns="0" tIns="0" rIns="0" bIns="0">
            <a:spAutoFit/>
          </a:bodyPr>
          <a:lstStyle/>
          <a:p>
            <a:pPr marL="12700">
              <a:lnSpc>
                <a:spcPct val="100000"/>
              </a:lnSpc>
              <a:spcBef>
                <a:spcPts val="910"/>
              </a:spcBef>
            </a:pPr>
            <a:r>
              <a:rPr lang="en-GB" sz="650" noProof="0" dirty="0">
                <a:solidFill>
                  <a:schemeClr val="tx1"/>
                </a:solidFill>
                <a:latin typeface="Calibri" panose="020F0502020204030204" pitchFamily="34" charset="0"/>
                <a:cs typeface="Calibri" panose="020F0502020204030204" pitchFamily="34" charset="0"/>
              </a:rPr>
              <a:t>© 2022 Deloitte LLP. All rights reserved.</a:t>
            </a:r>
          </a:p>
        </p:txBody>
      </p:sp>
    </p:spTree>
    <p:extLst>
      <p:ext uri="{BB962C8B-B14F-4D97-AF65-F5344CB8AC3E}">
        <p14:creationId xmlns:p14="http://schemas.microsoft.com/office/powerpoint/2010/main" val="4030739594"/>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46" r:id="rId13"/>
  </p:sldLayoutIdLst>
  <p:transition>
    <p:fade/>
  </p:transition>
  <p:hf hdr="0" dt="0"/>
  <p:txStyles>
    <p:titleStyle>
      <a:lvl1pPr algn="l" defTabSz="6858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45" orient="horz" pos="4008">
          <p15:clr>
            <a:srgbClr val="F26B43"/>
          </p15:clr>
        </p15:guide>
        <p15:guide id="49" orient="horz" pos="432">
          <p15:clr>
            <a:srgbClr val="F26B43"/>
          </p15:clr>
        </p15:guide>
        <p15:guide id="68" orient="horz" pos="4104">
          <p15:clr>
            <a:srgbClr val="F26B43"/>
          </p15:clr>
        </p15:guide>
        <p15:guide id="69" orient="horz" pos="2088">
          <p15:clr>
            <a:srgbClr val="F26B43"/>
          </p15:clr>
        </p15:guide>
        <p15:guide id="70" orient="horz" pos="1080">
          <p15:clr>
            <a:srgbClr val="F26B43"/>
          </p15:clr>
        </p15:guide>
        <p15:guide id="71" orient="horz" pos="216">
          <p15:clr>
            <a:srgbClr val="F26B43"/>
          </p15:clr>
        </p15:guide>
        <p15:guide id="72" pos="3840">
          <p15:clr>
            <a:srgbClr val="F26B43"/>
          </p15:clr>
        </p15:guide>
        <p15:guide id="73" pos="3936">
          <p15:clr>
            <a:srgbClr val="F26B43"/>
          </p15:clr>
        </p15:guide>
        <p15:guide id="74" pos="288">
          <p15:clr>
            <a:srgbClr val="F26B43"/>
          </p15:clr>
        </p15:guide>
        <p15:guide id="75" pos="4960">
          <p15:clr>
            <a:srgbClr val="F26B43"/>
          </p15:clr>
        </p15:guide>
        <p15:guide id="76" pos="3744">
          <p15:clr>
            <a:srgbClr val="F26B43"/>
          </p15:clr>
        </p15:guide>
        <p15:guide id="77" pos="2720">
          <p15:clr>
            <a:srgbClr val="F26B43"/>
          </p15:clr>
        </p15:guide>
        <p15:guide id="78" pos="2528">
          <p15:clr>
            <a:srgbClr val="F26B43"/>
          </p15:clr>
        </p15:guide>
        <p15:guide id="79" pos="1312">
          <p15:clr>
            <a:srgbClr val="F26B43"/>
          </p15:clr>
        </p15:guide>
        <p15:guide id="80" pos="1504">
          <p15:clr>
            <a:srgbClr val="F26B43"/>
          </p15:clr>
        </p15:guide>
        <p15:guide id="81" pos="5152">
          <p15:clr>
            <a:srgbClr val="F26B43"/>
          </p15:clr>
        </p15:guide>
        <p15:guide id="82" pos="6176">
          <p15:clr>
            <a:srgbClr val="F26B43"/>
          </p15:clr>
        </p15:guide>
        <p15:guide id="83" pos="6368">
          <p15:clr>
            <a:srgbClr val="F26B43"/>
          </p15:clr>
        </p15:guide>
        <p15:guide id="84" pos="7392">
          <p15:clr>
            <a:srgbClr val="F26B43"/>
          </p15:clr>
        </p15:guide>
        <p15:guide id="85" orient="horz" pos="218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23BC8F-8B3D-4159-9827-CA5CA1A2B6AB}" type="datetimeFigureOut">
              <a:rPr lang="en-GB" smtClean="0"/>
              <a:t>15/05/2024</a:t>
            </a:fld>
            <a:endParaRPr lang="en-GB" dirty="0"/>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93A66D-E986-4612-BD04-C3BB50CA9267}" type="slidenum">
              <a:rPr lang="en-GB" smtClean="0"/>
              <a:t>‹#›</a:t>
            </a:fld>
            <a:endParaRPr lang="en-GB" dirty="0"/>
          </a:p>
        </p:txBody>
      </p:sp>
    </p:spTree>
    <p:extLst>
      <p:ext uri="{BB962C8B-B14F-4D97-AF65-F5344CB8AC3E}">
        <p14:creationId xmlns:p14="http://schemas.microsoft.com/office/powerpoint/2010/main" val="167826884"/>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Lst>
  <p:txStyles>
    <p:titleStyle>
      <a:lvl1pPr algn="l" defTabSz="914418"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18"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4" indent="-228605" algn="l" defTabSz="914418"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3" indent="-228605" algn="l" defTabSz="914418"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32"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41"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50"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5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69"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78" indent="-228605" algn="l" defTabSz="91441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18" rtl="0" eaLnBrk="1" latinLnBrk="0" hangingPunct="1">
        <a:defRPr sz="1800" kern="1200">
          <a:solidFill>
            <a:schemeClr val="tx1"/>
          </a:solidFill>
          <a:latin typeface="+mn-lt"/>
          <a:ea typeface="+mn-ea"/>
          <a:cs typeface="+mn-cs"/>
        </a:defRPr>
      </a:lvl1pPr>
      <a:lvl2pPr marL="457209" algn="l" defTabSz="914418" rtl="0" eaLnBrk="1" latinLnBrk="0" hangingPunct="1">
        <a:defRPr sz="1800" kern="1200">
          <a:solidFill>
            <a:schemeClr val="tx1"/>
          </a:solidFill>
          <a:latin typeface="+mn-lt"/>
          <a:ea typeface="+mn-ea"/>
          <a:cs typeface="+mn-cs"/>
        </a:defRPr>
      </a:lvl2pPr>
      <a:lvl3pPr marL="914418" algn="l" defTabSz="914418" rtl="0" eaLnBrk="1" latinLnBrk="0" hangingPunct="1">
        <a:defRPr sz="1800" kern="1200">
          <a:solidFill>
            <a:schemeClr val="tx1"/>
          </a:solidFill>
          <a:latin typeface="+mn-lt"/>
          <a:ea typeface="+mn-ea"/>
          <a:cs typeface="+mn-cs"/>
        </a:defRPr>
      </a:lvl3pPr>
      <a:lvl4pPr marL="1371627" algn="l" defTabSz="914418" rtl="0" eaLnBrk="1" latinLnBrk="0" hangingPunct="1">
        <a:defRPr sz="1800" kern="1200">
          <a:solidFill>
            <a:schemeClr val="tx1"/>
          </a:solidFill>
          <a:latin typeface="+mn-lt"/>
          <a:ea typeface="+mn-ea"/>
          <a:cs typeface="+mn-cs"/>
        </a:defRPr>
      </a:lvl4pPr>
      <a:lvl5pPr marL="1828837" algn="l" defTabSz="914418" rtl="0" eaLnBrk="1" latinLnBrk="0" hangingPunct="1">
        <a:defRPr sz="1800" kern="1200">
          <a:solidFill>
            <a:schemeClr val="tx1"/>
          </a:solidFill>
          <a:latin typeface="+mn-lt"/>
          <a:ea typeface="+mn-ea"/>
          <a:cs typeface="+mn-cs"/>
        </a:defRPr>
      </a:lvl5pPr>
      <a:lvl6pPr marL="2286046" algn="l" defTabSz="914418" rtl="0" eaLnBrk="1" latinLnBrk="0" hangingPunct="1">
        <a:defRPr sz="1800" kern="1200">
          <a:solidFill>
            <a:schemeClr val="tx1"/>
          </a:solidFill>
          <a:latin typeface="+mn-lt"/>
          <a:ea typeface="+mn-ea"/>
          <a:cs typeface="+mn-cs"/>
        </a:defRPr>
      </a:lvl6pPr>
      <a:lvl7pPr marL="2743255" algn="l" defTabSz="914418" rtl="0" eaLnBrk="1" latinLnBrk="0" hangingPunct="1">
        <a:defRPr sz="1800" kern="1200">
          <a:solidFill>
            <a:schemeClr val="tx1"/>
          </a:solidFill>
          <a:latin typeface="+mn-lt"/>
          <a:ea typeface="+mn-ea"/>
          <a:cs typeface="+mn-cs"/>
        </a:defRPr>
      </a:lvl7pPr>
      <a:lvl8pPr marL="3200464" algn="l" defTabSz="914418" rtl="0" eaLnBrk="1" latinLnBrk="0" hangingPunct="1">
        <a:defRPr sz="1800" kern="1200">
          <a:solidFill>
            <a:schemeClr val="tx1"/>
          </a:solidFill>
          <a:latin typeface="+mn-lt"/>
          <a:ea typeface="+mn-ea"/>
          <a:cs typeface="+mn-cs"/>
        </a:defRPr>
      </a:lvl8pPr>
      <a:lvl9pPr marL="3657673" algn="l" defTabSz="91441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xml"/><Relationship Id="rId7" Type="http://schemas.openxmlformats.org/officeDocument/2006/relationships/image" Target="../media/image20.jpeg"/><Relationship Id="rId2" Type="http://schemas.openxmlformats.org/officeDocument/2006/relationships/customXml" Target="../../customXml/item2.xml"/><Relationship Id="rId1" Type="http://schemas.openxmlformats.org/officeDocument/2006/relationships/customXml" Target="../../customXml/item5.xml"/><Relationship Id="rId6" Type="http://schemas.openxmlformats.org/officeDocument/2006/relationships/notesSlide" Target="../notesSlides/notesSlide1.xml"/><Relationship Id="rId5" Type="http://schemas.openxmlformats.org/officeDocument/2006/relationships/slideLayout" Target="../slideLayouts/slideLayout17.xml"/><Relationship Id="rId4" Type="http://schemas.openxmlformats.org/officeDocument/2006/relationships/tags" Target="../tags/tag5.xml"/><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customXml" Target="../../customXml/item8.xml"/><Relationship Id="rId1" Type="http://schemas.openxmlformats.org/officeDocument/2006/relationships/customXml" Target="../../customXml/item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A88ACE55-3CD1-7442-A0B1-41C2AB85C751}"/>
              </a:ext>
            </a:extLst>
          </p:cNvPr>
          <p:cNvSpPr>
            <a:spLocks noGrp="1"/>
          </p:cNvSpPr>
          <p:nvPr>
            <p:ph type="body" sz="quarter" idx="10"/>
          </p:nvPr>
        </p:nvSpPr>
        <p:spPr>
          <a:xfrm>
            <a:off x="463296" y="6101163"/>
            <a:ext cx="4446269" cy="273050"/>
          </a:xfrm>
        </p:spPr>
        <p:txBody>
          <a:bodyPr/>
          <a:lstStyle/>
          <a:p>
            <a:r>
              <a:rPr lang="en-GB" dirty="0">
                <a:solidFill>
                  <a:schemeClr val="tx1"/>
                </a:solidFill>
                <a:latin typeface="+mj-lt"/>
                <a:ea typeface="Open Sans" panose="020B0606030504020204" pitchFamily="34" charset="0"/>
                <a:cs typeface="Open Sans" panose="020B0606030504020204" pitchFamily="34" charset="0"/>
              </a:rPr>
              <a:t>May 2024</a:t>
            </a:r>
          </a:p>
        </p:txBody>
      </p:sp>
      <p:sp>
        <p:nvSpPr>
          <p:cNvPr id="5" name="Title 2">
            <a:extLst>
              <a:ext uri="{FF2B5EF4-FFF2-40B4-BE49-F238E27FC236}">
                <a16:creationId xmlns:a16="http://schemas.microsoft.com/office/drawing/2014/main" id="{ECA7BCBB-FAE1-4147-9FE0-54ECEB0EA98E}"/>
              </a:ext>
            </a:extLst>
          </p:cNvPr>
          <p:cNvSpPr>
            <a:spLocks noGrp="1"/>
          </p:cNvSpPr>
          <p:nvPr>
            <p:ph type="ctrTitle"/>
          </p:nvPr>
        </p:nvSpPr>
        <p:spPr>
          <a:xfrm>
            <a:off x="463296" y="5738949"/>
            <a:ext cx="11265408" cy="661195"/>
          </a:xfrm>
        </p:spPr>
        <p:txBody>
          <a:bodyPr/>
          <a:lstStyle/>
          <a:p>
            <a:pPr>
              <a:lnSpc>
                <a:spcPct val="100000"/>
              </a:lnSpc>
              <a:spcBef>
                <a:spcPts val="600"/>
              </a:spcBef>
              <a:spcAft>
                <a:spcPts val="600"/>
              </a:spcAft>
            </a:pPr>
            <a:r>
              <a:rPr lang="en-GB" sz="2400" b="1" dirty="0">
                <a:solidFill>
                  <a:srgbClr val="86BC25"/>
                </a:solidFill>
                <a:latin typeface="+mj-lt"/>
                <a:ea typeface="Open Sans Light" panose="020B0306030504020204" pitchFamily="34" charset="0"/>
                <a:cs typeface="Open Sans Light" panose="020B0306030504020204" pitchFamily="34" charset="0"/>
              </a:rPr>
              <a:t>How financial services organisations are addressing increasing cyber threats</a:t>
            </a:r>
            <a:br>
              <a:rPr lang="en-GB" sz="2400" b="1" dirty="0">
                <a:solidFill>
                  <a:srgbClr val="86BC25"/>
                </a:solidFill>
                <a:latin typeface="Open Sans Light" panose="020B0306030504020204" pitchFamily="34" charset="0"/>
                <a:ea typeface="Open Sans Light" panose="020B0306030504020204" pitchFamily="34" charset="0"/>
                <a:cs typeface="Open Sans Light" panose="020B0306030504020204" pitchFamily="34" charset="0"/>
              </a:rPr>
            </a:br>
            <a:r>
              <a:rPr lang="en-GB" sz="1600" dirty="0">
                <a:solidFill>
                  <a:srgbClr val="000000"/>
                </a:solidFill>
                <a:effectLst/>
                <a:latin typeface="+mn-lt"/>
                <a:ea typeface="Calibri" panose="020F0502020204030204" pitchFamily="34" charset="0"/>
              </a:rPr>
              <a:t>An overview of building Cyber Resilience in the emerging threat landscape</a:t>
            </a:r>
            <a:endParaRPr lang="en-GB" sz="2400" b="1" dirty="0">
              <a:solidFill>
                <a:schemeClr val="bg1"/>
              </a:solidFill>
              <a:latin typeface="+mn-lt"/>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91499805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sz="2000" b="1" dirty="0"/>
              <a:t>Introduction &amp; Agenda</a:t>
            </a:r>
            <a:endParaRPr lang="en-US" sz="2000" b="1" dirty="0"/>
          </a:p>
        </p:txBody>
      </p:sp>
      <p:pic>
        <p:nvPicPr>
          <p:cNvPr id="3" name="Picture 2">
            <a:extLst>
              <a:ext uri="{FF2B5EF4-FFF2-40B4-BE49-F238E27FC236}">
                <a16:creationId xmlns:a16="http://schemas.microsoft.com/office/drawing/2014/main" id="{CDCAB49D-7613-9F53-CDD3-5F46D14A1E22}"/>
              </a:ext>
            </a:extLst>
          </p:cNvPr>
          <p:cNvPicPr>
            <a:picLocks noChangeAspect="1"/>
          </p:cNvPicPr>
          <p:nvPr>
            <p:custDataLst>
              <p:tags r:id="rId4"/>
            </p:custDataLst>
          </p:nvPr>
        </p:nvPicPr>
        <p:blipFill rotWithShape="1">
          <a:blip r:embed="rId7" cstate="print">
            <a:extLst>
              <a:ext uri="{28A0092B-C50C-407E-A947-70E740481C1C}">
                <a14:useLocalDpi xmlns:a14="http://schemas.microsoft.com/office/drawing/2010/main" val="0"/>
              </a:ext>
            </a:extLst>
          </a:blip>
          <a:srcRect/>
          <a:stretch/>
        </p:blipFill>
        <p:spPr>
          <a:xfrm>
            <a:off x="7465671" y="753339"/>
            <a:ext cx="4198329" cy="5468816"/>
          </a:xfrm>
          <a:prstGeom prst="rect">
            <a:avLst/>
          </a:prstGeom>
        </p:spPr>
      </p:pic>
      <p:pic>
        <p:nvPicPr>
          <p:cNvPr id="5" name="Picture 6">
            <a:extLst>
              <a:ext uri="{FF2B5EF4-FFF2-40B4-BE49-F238E27FC236}">
                <a16:creationId xmlns:a16="http://schemas.microsoft.com/office/drawing/2014/main" id="{0EF2C776-A5BD-43DA-325F-D83E81CC1BC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3285" y="5475220"/>
            <a:ext cx="704850" cy="70485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a:extLst>
              <a:ext uri="{FF2B5EF4-FFF2-40B4-BE49-F238E27FC236}">
                <a16:creationId xmlns:a16="http://schemas.microsoft.com/office/drawing/2014/main" id="{0807B356-C9B7-E958-0C92-05BD04B1E0B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115773" y="5484130"/>
            <a:ext cx="705600" cy="68703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5951138A-6E99-ED6E-CCD2-36A24B5E1AB0}"/>
              </a:ext>
            </a:extLst>
          </p:cNvPr>
          <p:cNvSpPr txBox="1">
            <a:spLocks/>
          </p:cNvSpPr>
          <p:nvPr/>
        </p:nvSpPr>
        <p:spPr>
          <a:xfrm>
            <a:off x="1513552" y="5450619"/>
            <a:ext cx="2107881" cy="754053"/>
          </a:xfrm>
          <a:prstGeom prst="rect">
            <a:avLst/>
          </a:prstGeom>
          <a:noFill/>
        </p:spPr>
        <p:txBody>
          <a:bodyPr wrap="square" lIns="0" tIns="0" rIns="0" bIns="0" rtlCol="0">
            <a:spAutoFit/>
          </a:bodyPr>
          <a:lstStyle/>
          <a:p>
            <a:pPr>
              <a:spcBef>
                <a:spcPts val="0"/>
              </a:spcBef>
              <a:buSzPct val="100000"/>
            </a:pPr>
            <a:r>
              <a:rPr lang="en-GB" sz="1600" b="1" noProof="0" dirty="0">
                <a:solidFill>
                  <a:schemeClr val="tx1"/>
                </a:solidFill>
                <a:latin typeface="+mj-lt"/>
                <a:ea typeface="Open Sans Light" panose="020B0306030504020204" pitchFamily="34" charset="0"/>
                <a:cs typeface="Open Sans Light" panose="020B0306030504020204" pitchFamily="34" charset="0"/>
              </a:rPr>
              <a:t>Melissa Valdes</a:t>
            </a:r>
          </a:p>
          <a:p>
            <a:pPr>
              <a:spcBef>
                <a:spcPts val="0"/>
              </a:spcBef>
              <a:buSzPct val="100000"/>
            </a:pPr>
            <a:r>
              <a:rPr lang="en-GB" sz="1100" dirty="0">
                <a:ea typeface="Open Sans Light" panose="020B0306030504020204" pitchFamily="34" charset="0"/>
                <a:cs typeface="Open Sans Light" panose="020B0306030504020204" pitchFamily="34" charset="0"/>
              </a:rPr>
              <a:t>Senior Manager, Risk Advisory</a:t>
            </a:r>
          </a:p>
          <a:p>
            <a:pPr>
              <a:spcBef>
                <a:spcPts val="0"/>
              </a:spcBef>
              <a:buSzPct val="100000"/>
            </a:pPr>
            <a:r>
              <a:rPr lang="en-GB" sz="1100" noProof="0" dirty="0">
                <a:solidFill>
                  <a:schemeClr val="tx1"/>
                </a:solidFill>
                <a:ea typeface="Open Sans Light" panose="020B0306030504020204" pitchFamily="34" charset="0"/>
                <a:cs typeface="Open Sans Light" panose="020B0306030504020204" pitchFamily="34" charset="0"/>
              </a:rPr>
              <a:t>Deloitte UK</a:t>
            </a:r>
          </a:p>
          <a:p>
            <a:pPr>
              <a:spcBef>
                <a:spcPts val="0"/>
              </a:spcBef>
              <a:buSzPct val="100000"/>
            </a:pPr>
            <a:r>
              <a:rPr lang="en-GB" sz="1100" noProof="0" dirty="0">
                <a:solidFill>
                  <a:schemeClr val="tx1"/>
                </a:solidFill>
                <a:ea typeface="Open Sans Light" panose="020B0306030504020204" pitchFamily="34" charset="0"/>
                <a:cs typeface="Open Sans Light" panose="020B0306030504020204" pitchFamily="34" charset="0"/>
              </a:rPr>
              <a:t>Email ID : mevaldes@deloitte.co.uk</a:t>
            </a:r>
          </a:p>
        </p:txBody>
      </p:sp>
      <p:sp>
        <p:nvSpPr>
          <p:cNvPr id="12" name="TextBox 11">
            <a:extLst>
              <a:ext uri="{FF2B5EF4-FFF2-40B4-BE49-F238E27FC236}">
                <a16:creationId xmlns:a16="http://schemas.microsoft.com/office/drawing/2014/main" id="{74EAA57A-50A9-0AF0-F779-4700CB3A0EF1}"/>
              </a:ext>
            </a:extLst>
          </p:cNvPr>
          <p:cNvSpPr txBox="1">
            <a:spLocks/>
          </p:cNvSpPr>
          <p:nvPr/>
        </p:nvSpPr>
        <p:spPr>
          <a:xfrm>
            <a:off x="4965091" y="5450619"/>
            <a:ext cx="2318438" cy="754053"/>
          </a:xfrm>
          <a:prstGeom prst="rect">
            <a:avLst/>
          </a:prstGeom>
          <a:noFill/>
        </p:spPr>
        <p:txBody>
          <a:bodyPr wrap="square" lIns="0" tIns="0" rIns="0" bIns="0" rtlCol="0">
            <a:spAutoFit/>
          </a:bodyPr>
          <a:lstStyle/>
          <a:p>
            <a:pPr>
              <a:spcBef>
                <a:spcPts val="0"/>
              </a:spcBef>
              <a:buSzPct val="100000"/>
            </a:pPr>
            <a:r>
              <a:rPr lang="en-GB" sz="1600" b="1" noProof="0" dirty="0">
                <a:solidFill>
                  <a:schemeClr val="tx1"/>
                </a:solidFill>
                <a:latin typeface="+mj-lt"/>
                <a:ea typeface="Open Sans Light" panose="020B0306030504020204" pitchFamily="34" charset="0"/>
                <a:cs typeface="Open Sans Light" panose="020B0306030504020204" pitchFamily="34" charset="0"/>
              </a:rPr>
              <a:t>Anurag Mathur</a:t>
            </a:r>
          </a:p>
          <a:p>
            <a:pPr>
              <a:spcBef>
                <a:spcPts val="0"/>
              </a:spcBef>
              <a:buSzPct val="100000"/>
            </a:pPr>
            <a:r>
              <a:rPr lang="en-GB" sz="1100" dirty="0">
                <a:ea typeface="Open Sans Light" panose="020B0306030504020204" pitchFamily="34" charset="0"/>
                <a:cs typeface="Open Sans Light" panose="020B0306030504020204" pitchFamily="34" charset="0"/>
              </a:rPr>
              <a:t>Senior Manager, Risk Advisory</a:t>
            </a:r>
          </a:p>
          <a:p>
            <a:pPr>
              <a:spcBef>
                <a:spcPts val="0"/>
              </a:spcBef>
              <a:buSzPct val="100000"/>
            </a:pPr>
            <a:r>
              <a:rPr lang="en-GB" sz="1100" noProof="0" dirty="0">
                <a:solidFill>
                  <a:schemeClr val="tx1"/>
                </a:solidFill>
                <a:ea typeface="Open Sans Light" panose="020B0306030504020204" pitchFamily="34" charset="0"/>
                <a:cs typeface="Open Sans Light" panose="020B0306030504020204" pitchFamily="34" charset="0"/>
              </a:rPr>
              <a:t>Deloitte UK</a:t>
            </a:r>
          </a:p>
          <a:p>
            <a:pPr>
              <a:spcBef>
                <a:spcPts val="0"/>
              </a:spcBef>
              <a:buSzPct val="100000"/>
            </a:pPr>
            <a:r>
              <a:rPr lang="en-GB" sz="1100" noProof="0" dirty="0">
                <a:solidFill>
                  <a:schemeClr val="tx1"/>
                </a:solidFill>
                <a:ea typeface="Open Sans Light" panose="020B0306030504020204" pitchFamily="34" charset="0"/>
                <a:cs typeface="Open Sans Light" panose="020B0306030504020204" pitchFamily="34" charset="0"/>
              </a:rPr>
              <a:t>Email ID : anurmathur@deloitte.co.uk</a:t>
            </a:r>
          </a:p>
        </p:txBody>
      </p:sp>
      <p:graphicFrame>
        <p:nvGraphicFramePr>
          <p:cNvPr id="9" name="Table 10">
            <a:extLst>
              <a:ext uri="{FF2B5EF4-FFF2-40B4-BE49-F238E27FC236}">
                <a16:creationId xmlns:a16="http://schemas.microsoft.com/office/drawing/2014/main" id="{6A91B1E9-7F93-1E7A-7ABC-0E5F9773E06A}"/>
              </a:ext>
            </a:extLst>
          </p:cNvPr>
          <p:cNvGraphicFramePr>
            <a:graphicFrameLocks noGrp="1"/>
          </p:cNvGraphicFramePr>
          <p:nvPr>
            <p:extLst>
              <p:ext uri="{D42A27DB-BD31-4B8C-83A1-F6EECF244321}">
                <p14:modId xmlns:p14="http://schemas.microsoft.com/office/powerpoint/2010/main" val="1027049871"/>
              </p:ext>
            </p:extLst>
          </p:nvPr>
        </p:nvGraphicFramePr>
        <p:xfrm>
          <a:off x="662330" y="1202408"/>
          <a:ext cx="6522242" cy="2021840"/>
        </p:xfrm>
        <a:graphic>
          <a:graphicData uri="http://schemas.openxmlformats.org/drawingml/2006/table">
            <a:tbl>
              <a:tblPr firstRow="1" bandRow="1">
                <a:tableStyleId>{69CF1AB2-1976-4502-BF36-3FF5EA218861}</a:tableStyleId>
              </a:tblPr>
              <a:tblGrid>
                <a:gridCol w="5857223">
                  <a:extLst>
                    <a:ext uri="{9D8B030D-6E8A-4147-A177-3AD203B41FA5}">
                      <a16:colId xmlns:a16="http://schemas.microsoft.com/office/drawing/2014/main" val="4172290817"/>
                    </a:ext>
                  </a:extLst>
                </a:gridCol>
                <a:gridCol w="665019">
                  <a:extLst>
                    <a:ext uri="{9D8B030D-6E8A-4147-A177-3AD203B41FA5}">
                      <a16:colId xmlns:a16="http://schemas.microsoft.com/office/drawing/2014/main" val="200115500"/>
                    </a:ext>
                  </a:extLst>
                </a:gridCol>
              </a:tblGrid>
              <a:tr h="370840">
                <a:tc>
                  <a:txBody>
                    <a:bodyPr/>
                    <a:lstStyle/>
                    <a:p>
                      <a:r>
                        <a:rPr lang="en-GB" dirty="0"/>
                        <a:t>Topic</a:t>
                      </a:r>
                    </a:p>
                  </a:txBody>
                  <a:tcPr/>
                </a:tc>
                <a:tc>
                  <a:txBody>
                    <a:bodyPr/>
                    <a:lstStyle/>
                    <a:p>
                      <a:pPr algn="ctr"/>
                      <a:r>
                        <a:rPr lang="en-GB" dirty="0"/>
                        <a:t>#</a:t>
                      </a:r>
                    </a:p>
                  </a:txBody>
                  <a:tcPr/>
                </a:tc>
                <a:extLst>
                  <a:ext uri="{0D108BD9-81ED-4DB2-BD59-A6C34878D82A}">
                    <a16:rowId xmlns:a16="http://schemas.microsoft.com/office/drawing/2014/main" val="2946663056"/>
                  </a:ext>
                </a:extLst>
              </a:tr>
              <a:tr h="370840">
                <a:tc>
                  <a:txBody>
                    <a:bodyPr/>
                    <a:lstStyle/>
                    <a:p>
                      <a:r>
                        <a:rPr lang="en-US" sz="1800" dirty="0"/>
                        <a:t>Emerging cyber threat landscape &amp; key drivers for cyber resilience in FS </a:t>
                      </a:r>
                      <a:r>
                        <a:rPr lang="en-US" sz="1800" dirty="0" err="1"/>
                        <a:t>organisations</a:t>
                      </a:r>
                      <a:endParaRPr lang="en-GB" dirty="0"/>
                    </a:p>
                  </a:txBody>
                  <a:tcPr/>
                </a:tc>
                <a:tc>
                  <a:txBody>
                    <a:bodyPr/>
                    <a:lstStyle/>
                    <a:p>
                      <a:pPr algn="ctr"/>
                      <a:r>
                        <a:rPr lang="en-GB" dirty="0"/>
                        <a:t>3</a:t>
                      </a:r>
                    </a:p>
                  </a:txBody>
                  <a:tcPr/>
                </a:tc>
                <a:extLst>
                  <a:ext uri="{0D108BD9-81ED-4DB2-BD59-A6C34878D82A}">
                    <a16:rowId xmlns:a16="http://schemas.microsoft.com/office/drawing/2014/main" val="3271577667"/>
                  </a:ext>
                </a:extLst>
              </a:tr>
              <a:tr h="370840">
                <a:tc>
                  <a:txBody>
                    <a:bodyPr/>
                    <a:lstStyle/>
                    <a:p>
                      <a:r>
                        <a:rPr lang="en-GB" dirty="0"/>
                        <a:t>Emerging strategies used by leading FS organisations to strengthen their cyber risk mitigating controls</a:t>
                      </a:r>
                    </a:p>
                  </a:txBody>
                  <a:tcPr/>
                </a:tc>
                <a:tc>
                  <a:txBody>
                    <a:bodyPr/>
                    <a:lstStyle/>
                    <a:p>
                      <a:pPr algn="ctr"/>
                      <a:r>
                        <a:rPr lang="en-GB" dirty="0"/>
                        <a:t>4</a:t>
                      </a:r>
                    </a:p>
                  </a:txBody>
                  <a:tcPr/>
                </a:tc>
                <a:extLst>
                  <a:ext uri="{0D108BD9-81ED-4DB2-BD59-A6C34878D82A}">
                    <a16:rowId xmlns:a16="http://schemas.microsoft.com/office/drawing/2014/main" val="2340549942"/>
                  </a:ext>
                </a:extLst>
              </a:tr>
              <a:tr h="370840">
                <a:tc>
                  <a:txBody>
                    <a:bodyPr/>
                    <a:lstStyle/>
                    <a:p>
                      <a:r>
                        <a:rPr lang="en-GB" dirty="0"/>
                        <a:t>Proven f</a:t>
                      </a:r>
                      <a:r>
                        <a:rPr lang="en-US" noProof="0" dirty="0" err="1"/>
                        <a:t>ramework</a:t>
                      </a:r>
                      <a:r>
                        <a:rPr lang="en-US" noProof="0" dirty="0"/>
                        <a:t> for cyber resilience planning</a:t>
                      </a:r>
                      <a:endParaRPr lang="en-GB" dirty="0"/>
                    </a:p>
                  </a:txBody>
                  <a:tcPr/>
                </a:tc>
                <a:tc>
                  <a:txBody>
                    <a:bodyPr/>
                    <a:lstStyle/>
                    <a:p>
                      <a:pPr algn="ctr"/>
                      <a:r>
                        <a:rPr lang="en-GB" dirty="0"/>
                        <a:t>5</a:t>
                      </a:r>
                    </a:p>
                  </a:txBody>
                  <a:tcPr/>
                </a:tc>
                <a:extLst>
                  <a:ext uri="{0D108BD9-81ED-4DB2-BD59-A6C34878D82A}">
                    <a16:rowId xmlns:a16="http://schemas.microsoft.com/office/drawing/2014/main" val="494628988"/>
                  </a:ext>
                </a:extLst>
              </a:tr>
            </a:tbl>
          </a:graphicData>
        </a:graphic>
      </p:graphicFrame>
    </p:spTree>
    <p:custDataLst>
      <p:custData r:id="rId1"/>
      <p:custData r:id="rId2"/>
      <p:tags r:id="rId3"/>
    </p:custDataLst>
    <p:extLst>
      <p:ext uri="{BB962C8B-B14F-4D97-AF65-F5344CB8AC3E}">
        <p14:creationId xmlns:p14="http://schemas.microsoft.com/office/powerpoint/2010/main" val="183053266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E2D842-5AB9-1166-47CD-11CB9DC9E7BE}"/>
              </a:ext>
            </a:extLst>
          </p:cNvPr>
          <p:cNvSpPr>
            <a:spLocks noGrp="1"/>
          </p:cNvSpPr>
          <p:nvPr>
            <p:ph type="title"/>
          </p:nvPr>
        </p:nvSpPr>
        <p:spPr/>
        <p:txBody>
          <a:bodyPr/>
          <a:lstStyle/>
          <a:p>
            <a:r>
              <a:rPr lang="en-US" sz="2000" b="1" dirty="0"/>
              <a:t>Emerging cyber threat landscape &amp; key drivers for cyber resilience in FS organisations</a:t>
            </a:r>
            <a:endParaRPr lang="en-GB" sz="2000" dirty="0"/>
          </a:p>
        </p:txBody>
      </p:sp>
      <p:sp>
        <p:nvSpPr>
          <p:cNvPr id="38" name="Text Placeholder 3">
            <a:extLst>
              <a:ext uri="{FF2B5EF4-FFF2-40B4-BE49-F238E27FC236}">
                <a16:creationId xmlns:a16="http://schemas.microsoft.com/office/drawing/2014/main" id="{C616E934-3B9A-604C-F933-72244C7CAA15}"/>
              </a:ext>
            </a:extLst>
          </p:cNvPr>
          <p:cNvSpPr txBox="1">
            <a:spLocks/>
          </p:cNvSpPr>
          <p:nvPr/>
        </p:nvSpPr>
        <p:spPr>
          <a:xfrm>
            <a:off x="534046" y="1266468"/>
            <a:ext cx="9347200" cy="814039"/>
          </a:xfrm>
          <a:prstGeom prst="rect">
            <a:avLst/>
          </a:prstGeom>
        </p:spPr>
        <p:txBody>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endParaRPr kumimoji="0" lang="en-US" sz="1200" b="1"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grpSp>
        <p:nvGrpSpPr>
          <p:cNvPr id="39" name="Group 38">
            <a:extLst>
              <a:ext uri="{FF2B5EF4-FFF2-40B4-BE49-F238E27FC236}">
                <a16:creationId xmlns:a16="http://schemas.microsoft.com/office/drawing/2014/main" id="{B66CB2C9-3946-033F-E91D-09739FD31B80}"/>
              </a:ext>
            </a:extLst>
          </p:cNvPr>
          <p:cNvGrpSpPr/>
          <p:nvPr/>
        </p:nvGrpSpPr>
        <p:grpSpPr>
          <a:xfrm>
            <a:off x="577077" y="1280883"/>
            <a:ext cx="11183421" cy="814039"/>
            <a:chOff x="-32966" y="-347305"/>
            <a:chExt cx="9846047" cy="698657"/>
          </a:xfrm>
        </p:grpSpPr>
        <p:sp>
          <p:nvSpPr>
            <p:cNvPr id="40" name="Rectangle: Rounded Corners 12">
              <a:extLst>
                <a:ext uri="{FF2B5EF4-FFF2-40B4-BE49-F238E27FC236}">
                  <a16:creationId xmlns:a16="http://schemas.microsoft.com/office/drawing/2014/main" id="{FBC2F61A-8AC6-5AAA-A5D6-6449BB4A109B}"/>
                </a:ext>
              </a:extLst>
            </p:cNvPr>
            <p:cNvSpPr/>
            <p:nvPr/>
          </p:nvSpPr>
          <p:spPr bwMode="gray">
            <a:xfrm>
              <a:off x="-32966" y="-341984"/>
              <a:ext cx="9846047" cy="692150"/>
            </a:xfrm>
            <a:prstGeom prst="roundRect">
              <a:avLst>
                <a:gd name="adj" fmla="val 12052"/>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41" name="Rectangle: Rounded Corners 13">
              <a:extLst>
                <a:ext uri="{FF2B5EF4-FFF2-40B4-BE49-F238E27FC236}">
                  <a16:creationId xmlns:a16="http://schemas.microsoft.com/office/drawing/2014/main" id="{B309FF0B-2E8B-EE85-4B99-1837ADF2F864}"/>
                </a:ext>
              </a:extLst>
            </p:cNvPr>
            <p:cNvSpPr/>
            <p:nvPr/>
          </p:nvSpPr>
          <p:spPr bwMode="gray">
            <a:xfrm>
              <a:off x="854290" y="-347305"/>
              <a:ext cx="8862920" cy="698657"/>
            </a:xfrm>
            <a:prstGeom prst="roundRect">
              <a:avLst>
                <a:gd name="adj" fmla="val 9744"/>
              </a:avLst>
            </a:prstGeom>
            <a:solidFill>
              <a:schemeClr val="bg1">
                <a:lumMod val="95000"/>
              </a:schemeClr>
            </a:solidFill>
            <a:ln w="19050" algn="ctr">
              <a:noFill/>
              <a:miter lim="800000"/>
              <a:headEnd/>
              <a:tailEnd/>
            </a:ln>
          </p:spPr>
          <p:txBody>
            <a:bodyPr wrap="square" lIns="88900" tIns="88900" rIns="88900" bIns="889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In recent years, financial institutions worldwide have encountered increasingly severe cybersecurity threats due to </a:t>
              </a:r>
              <a:r>
                <a:rPr lang="en-GB" sz="1400" dirty="0">
                  <a:solidFill>
                    <a:prstClr val="black"/>
                  </a:solidFill>
                  <a:latin typeface="Calibri Light" panose="020F0302020204030204" pitchFamily="34" charset="0"/>
                  <a:cs typeface="Calibri Light" panose="020F0302020204030204" pitchFamily="34" charset="0"/>
                </a:rPr>
                <a:t>technological advancements</a:t>
              </a:r>
              <a:r>
                <a:rPr kumimoji="0" lang="en-GB" sz="1400" b="0"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rPr>
                <a:t>, geopolitical issues, and innovative ‘go to market’ strategies adopted by organised cyber criminals. It is crucial now more than ever to prepare for extreme yet plausible scenarios to minimise the impact to core business operations.</a:t>
              </a:r>
            </a:p>
          </p:txBody>
        </p:sp>
      </p:grpSp>
      <p:sp>
        <p:nvSpPr>
          <p:cNvPr id="13" name="Freeform: Shape 12">
            <a:extLst>
              <a:ext uri="{FF2B5EF4-FFF2-40B4-BE49-F238E27FC236}">
                <a16:creationId xmlns:a16="http://schemas.microsoft.com/office/drawing/2014/main" id="{0988F801-965B-FC44-4BC1-B28683E00301}"/>
              </a:ext>
            </a:extLst>
          </p:cNvPr>
          <p:cNvSpPr/>
          <p:nvPr/>
        </p:nvSpPr>
        <p:spPr>
          <a:xfrm rot="5400000">
            <a:off x="579459" y="2702787"/>
            <a:ext cx="25173" cy="25468"/>
          </a:xfrm>
          <a:custGeom>
            <a:avLst/>
            <a:gdLst>
              <a:gd name="connsiteX0" fmla="*/ 29930 w 50402"/>
              <a:gd name="connsiteY0" fmla="*/ 528 h 47749"/>
              <a:gd name="connsiteX1" fmla="*/ 27569 w 50402"/>
              <a:gd name="connsiteY1" fmla="*/ 183 h 47749"/>
              <a:gd name="connsiteX2" fmla="*/ 183 w 50402"/>
              <a:gd name="connsiteY2" fmla="*/ 21618 h 47749"/>
              <a:gd name="connsiteX3" fmla="*/ 20619 w 50402"/>
              <a:gd name="connsiteY3" fmla="*/ 48861 h 47749"/>
              <a:gd name="connsiteX4" fmla="*/ 23430 w 50402"/>
              <a:gd name="connsiteY4" fmla="*/ 49259 h 47749"/>
              <a:gd name="connsiteX5" fmla="*/ 26720 w 50402"/>
              <a:gd name="connsiteY5" fmla="*/ 49471 h 47749"/>
              <a:gd name="connsiteX6" fmla="*/ 51107 w 50402"/>
              <a:gd name="connsiteY6" fmla="*/ 24678 h 47749"/>
              <a:gd name="connsiteX7" fmla="*/ 29930 w 50402"/>
              <a:gd name="connsiteY7" fmla="*/ 528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02" h="47749">
                <a:moveTo>
                  <a:pt x="29930" y="528"/>
                </a:moveTo>
                <a:lnTo>
                  <a:pt x="27569" y="183"/>
                </a:lnTo>
                <a:cubicBezTo>
                  <a:pt x="14087" y="-1460"/>
                  <a:pt x="1826" y="8136"/>
                  <a:pt x="183" y="21618"/>
                </a:cubicBezTo>
                <a:cubicBezTo>
                  <a:pt x="-1413" y="34710"/>
                  <a:pt x="7603" y="46729"/>
                  <a:pt x="20619" y="48861"/>
                </a:cubicBezTo>
                <a:lnTo>
                  <a:pt x="23430" y="49259"/>
                </a:lnTo>
                <a:cubicBezTo>
                  <a:pt x="24520" y="49408"/>
                  <a:pt x="25620" y="49479"/>
                  <a:pt x="26720" y="49471"/>
                </a:cubicBezTo>
                <a:cubicBezTo>
                  <a:pt x="40301" y="49359"/>
                  <a:pt x="51219" y="38259"/>
                  <a:pt x="51107" y="24678"/>
                </a:cubicBezTo>
                <a:cubicBezTo>
                  <a:pt x="51007" y="12493"/>
                  <a:pt x="41998" y="2219"/>
                  <a:pt x="29930" y="528"/>
                </a:cubicBezTo>
                <a:close/>
              </a:path>
            </a:pathLst>
          </a:custGeom>
          <a:solidFill>
            <a:srgbClr val="86BC25"/>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14" name="Freeform: Shape 13">
            <a:extLst>
              <a:ext uri="{FF2B5EF4-FFF2-40B4-BE49-F238E27FC236}">
                <a16:creationId xmlns:a16="http://schemas.microsoft.com/office/drawing/2014/main" id="{F885CEDA-621A-21D7-88B7-8493FFE78BF0}"/>
              </a:ext>
            </a:extLst>
          </p:cNvPr>
          <p:cNvSpPr/>
          <p:nvPr/>
        </p:nvSpPr>
        <p:spPr>
          <a:xfrm rot="5400000">
            <a:off x="577225" y="2814358"/>
            <a:ext cx="25173" cy="25468"/>
          </a:xfrm>
          <a:custGeom>
            <a:avLst/>
            <a:gdLst>
              <a:gd name="connsiteX0" fmla="*/ 27244 w 50402"/>
              <a:gd name="connsiteY0" fmla="*/ 0 h 47749"/>
              <a:gd name="connsiteX1" fmla="*/ 24591 w 50402"/>
              <a:gd name="connsiteY1" fmla="*/ 0 h 47749"/>
              <a:gd name="connsiteX2" fmla="*/ 0 w 50402"/>
              <a:gd name="connsiteY2" fmla="*/ 24591 h 47749"/>
              <a:gd name="connsiteX3" fmla="*/ 24591 w 50402"/>
              <a:gd name="connsiteY3" fmla="*/ 49182 h 47749"/>
              <a:gd name="connsiteX4" fmla="*/ 27244 w 50402"/>
              <a:gd name="connsiteY4" fmla="*/ 49182 h 47749"/>
              <a:gd name="connsiteX5" fmla="*/ 51835 w 50402"/>
              <a:gd name="connsiteY5" fmla="*/ 24591 h 47749"/>
              <a:gd name="connsiteX6" fmla="*/ 27244 w 50402"/>
              <a:gd name="connsiteY6" fmla="*/ 0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2" h="47749">
                <a:moveTo>
                  <a:pt x="27244" y="0"/>
                </a:moveTo>
                <a:lnTo>
                  <a:pt x="24591" y="0"/>
                </a:lnTo>
                <a:cubicBezTo>
                  <a:pt x="11010" y="0"/>
                  <a:pt x="0" y="11010"/>
                  <a:pt x="0" y="24591"/>
                </a:cubicBezTo>
                <a:cubicBezTo>
                  <a:pt x="0" y="38172"/>
                  <a:pt x="11010" y="49182"/>
                  <a:pt x="24591" y="49182"/>
                </a:cubicBezTo>
                <a:lnTo>
                  <a:pt x="27244" y="49182"/>
                </a:lnTo>
                <a:cubicBezTo>
                  <a:pt x="40825" y="49182"/>
                  <a:pt x="51835" y="38172"/>
                  <a:pt x="51835" y="24591"/>
                </a:cubicBezTo>
                <a:cubicBezTo>
                  <a:pt x="51835" y="11010"/>
                  <a:pt x="40825" y="0"/>
                  <a:pt x="27244" y="0"/>
                </a:cubicBezTo>
                <a:close/>
              </a:path>
            </a:pathLst>
          </a:custGeom>
          <a:solidFill>
            <a:srgbClr val="86BC25"/>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5B63CEB1-8E87-AD4E-8F05-3636FD619B15}"/>
              </a:ext>
            </a:extLst>
          </p:cNvPr>
          <p:cNvSpPr/>
          <p:nvPr/>
        </p:nvSpPr>
        <p:spPr>
          <a:xfrm rot="5400000">
            <a:off x="624640" y="2599821"/>
            <a:ext cx="25173" cy="26884"/>
          </a:xfrm>
          <a:custGeom>
            <a:avLst/>
            <a:gdLst>
              <a:gd name="connsiteX0" fmla="*/ 41535 w 50402"/>
              <a:gd name="connsiteY0" fmla="*/ 6585 h 50402"/>
              <a:gd name="connsiteX1" fmla="*/ 39625 w 50402"/>
              <a:gd name="connsiteY1" fmla="*/ 5126 h 50402"/>
              <a:gd name="connsiteX2" fmla="*/ 5126 w 50402"/>
              <a:gd name="connsiteY2" fmla="*/ 9569 h 50402"/>
              <a:gd name="connsiteX3" fmla="*/ 9569 w 50402"/>
              <a:gd name="connsiteY3" fmla="*/ 44068 h 50402"/>
              <a:gd name="connsiteX4" fmla="*/ 11798 w 50402"/>
              <a:gd name="connsiteY4" fmla="*/ 45766 h 50402"/>
              <a:gd name="connsiteX5" fmla="*/ 46257 w 50402"/>
              <a:gd name="connsiteY5" fmla="*/ 41044 h 50402"/>
              <a:gd name="connsiteX6" fmla="*/ 41535 w 50402"/>
              <a:gd name="connsiteY6" fmla="*/ 6585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2" h="50402">
                <a:moveTo>
                  <a:pt x="41535" y="6585"/>
                </a:moveTo>
                <a:lnTo>
                  <a:pt x="39625" y="5126"/>
                </a:lnTo>
                <a:cubicBezTo>
                  <a:pt x="28871" y="-3174"/>
                  <a:pt x="13426" y="-1184"/>
                  <a:pt x="5126" y="9569"/>
                </a:cubicBezTo>
                <a:cubicBezTo>
                  <a:pt x="-3174" y="20323"/>
                  <a:pt x="-1184" y="35769"/>
                  <a:pt x="9569" y="44068"/>
                </a:cubicBezTo>
                <a:lnTo>
                  <a:pt x="11798" y="45766"/>
                </a:lnTo>
                <a:cubicBezTo>
                  <a:pt x="22617" y="53978"/>
                  <a:pt x="38045" y="51864"/>
                  <a:pt x="46257" y="41044"/>
                </a:cubicBezTo>
                <a:cubicBezTo>
                  <a:pt x="54468" y="30225"/>
                  <a:pt x="52354" y="14797"/>
                  <a:pt x="41535" y="6585"/>
                </a:cubicBezTo>
                <a:close/>
              </a:path>
            </a:pathLst>
          </a:custGeom>
          <a:solidFill>
            <a:srgbClr val="86BC25"/>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30B09C1F-EB70-D99C-D773-C53A0D37FDFD}"/>
              </a:ext>
            </a:extLst>
          </p:cNvPr>
          <p:cNvSpPr/>
          <p:nvPr/>
        </p:nvSpPr>
        <p:spPr>
          <a:xfrm rot="5400000">
            <a:off x="577225" y="2926296"/>
            <a:ext cx="25173" cy="25468"/>
          </a:xfrm>
          <a:custGeom>
            <a:avLst/>
            <a:gdLst>
              <a:gd name="connsiteX0" fmla="*/ 27244 w 50402"/>
              <a:gd name="connsiteY0" fmla="*/ 0 h 47749"/>
              <a:gd name="connsiteX1" fmla="*/ 24591 w 50402"/>
              <a:gd name="connsiteY1" fmla="*/ 0 h 47749"/>
              <a:gd name="connsiteX2" fmla="*/ 0 w 50402"/>
              <a:gd name="connsiteY2" fmla="*/ 24591 h 47749"/>
              <a:gd name="connsiteX3" fmla="*/ 24591 w 50402"/>
              <a:gd name="connsiteY3" fmla="*/ 49182 h 47749"/>
              <a:gd name="connsiteX4" fmla="*/ 27244 w 50402"/>
              <a:gd name="connsiteY4" fmla="*/ 49182 h 47749"/>
              <a:gd name="connsiteX5" fmla="*/ 51835 w 50402"/>
              <a:gd name="connsiteY5" fmla="*/ 24591 h 47749"/>
              <a:gd name="connsiteX6" fmla="*/ 27244 w 50402"/>
              <a:gd name="connsiteY6" fmla="*/ 0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2" h="47749">
                <a:moveTo>
                  <a:pt x="27244" y="0"/>
                </a:moveTo>
                <a:lnTo>
                  <a:pt x="24591" y="0"/>
                </a:lnTo>
                <a:cubicBezTo>
                  <a:pt x="11010" y="0"/>
                  <a:pt x="0" y="11010"/>
                  <a:pt x="0" y="24591"/>
                </a:cubicBezTo>
                <a:cubicBezTo>
                  <a:pt x="0" y="38172"/>
                  <a:pt x="11010" y="49182"/>
                  <a:pt x="24591" y="49182"/>
                </a:cubicBezTo>
                <a:lnTo>
                  <a:pt x="27244" y="49182"/>
                </a:lnTo>
                <a:cubicBezTo>
                  <a:pt x="40825" y="49182"/>
                  <a:pt x="51835" y="38172"/>
                  <a:pt x="51835" y="24591"/>
                </a:cubicBezTo>
                <a:cubicBezTo>
                  <a:pt x="51835" y="11010"/>
                  <a:pt x="40825" y="0"/>
                  <a:pt x="27244" y="0"/>
                </a:cubicBezTo>
                <a:close/>
              </a:path>
            </a:pathLst>
          </a:custGeom>
          <a:solidFill>
            <a:srgbClr val="86BC25"/>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C7322A69-B633-4F75-8B6E-B53958A33647}"/>
              </a:ext>
            </a:extLst>
          </p:cNvPr>
          <p:cNvSpPr/>
          <p:nvPr/>
        </p:nvSpPr>
        <p:spPr>
          <a:xfrm rot="5400000">
            <a:off x="718284" y="2530958"/>
            <a:ext cx="25173" cy="28298"/>
          </a:xfrm>
          <a:custGeom>
            <a:avLst/>
            <a:gdLst>
              <a:gd name="connsiteX0" fmla="*/ 47887 w 50402"/>
              <a:gd name="connsiteY0" fmla="*/ 16704 h 53054"/>
              <a:gd name="connsiteX1" fmla="*/ 16704 w 50402"/>
              <a:gd name="connsiteY1" fmla="*/ 1308 h 53054"/>
              <a:gd name="connsiteX2" fmla="*/ 1308 w 50402"/>
              <a:gd name="connsiteY2" fmla="*/ 32492 h 53054"/>
              <a:gd name="connsiteX3" fmla="*/ 2790 w 50402"/>
              <a:gd name="connsiteY3" fmla="*/ 35962 h 53054"/>
              <a:gd name="connsiteX4" fmla="*/ 3878 w 50402"/>
              <a:gd name="connsiteY4" fmla="*/ 38615 h 53054"/>
              <a:gd name="connsiteX5" fmla="*/ 35991 w 50402"/>
              <a:gd name="connsiteY5" fmla="*/ 51965 h 53054"/>
              <a:gd name="connsiteX6" fmla="*/ 49340 w 50402"/>
              <a:gd name="connsiteY6" fmla="*/ 19852 h 53054"/>
              <a:gd name="connsiteX7" fmla="*/ 48975 w 50402"/>
              <a:gd name="connsiteY7" fmla="*/ 19011 h 5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02" h="53054">
                <a:moveTo>
                  <a:pt x="47887" y="16704"/>
                </a:moveTo>
                <a:cubicBezTo>
                  <a:pt x="43527" y="3841"/>
                  <a:pt x="29566" y="-3052"/>
                  <a:pt x="16704" y="1308"/>
                </a:cubicBezTo>
                <a:cubicBezTo>
                  <a:pt x="3841" y="5668"/>
                  <a:pt x="-3052" y="19629"/>
                  <a:pt x="1308" y="32492"/>
                </a:cubicBezTo>
                <a:cubicBezTo>
                  <a:pt x="1713" y="33685"/>
                  <a:pt x="2208" y="34845"/>
                  <a:pt x="2790" y="35962"/>
                </a:cubicBezTo>
                <a:lnTo>
                  <a:pt x="3878" y="38615"/>
                </a:lnTo>
                <a:cubicBezTo>
                  <a:pt x="9059" y="51169"/>
                  <a:pt x="23436" y="57146"/>
                  <a:pt x="35991" y="51965"/>
                </a:cubicBezTo>
                <a:cubicBezTo>
                  <a:pt x="48545" y="46784"/>
                  <a:pt x="54521" y="32406"/>
                  <a:pt x="49340" y="19852"/>
                </a:cubicBezTo>
                <a:cubicBezTo>
                  <a:pt x="49224" y="19570"/>
                  <a:pt x="49102" y="19289"/>
                  <a:pt x="48975" y="19011"/>
                </a:cubicBezTo>
                <a:close/>
              </a:path>
            </a:pathLst>
          </a:custGeom>
          <a:solidFill>
            <a:srgbClr val="86BC25"/>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EBBC01BC-1631-79CB-B238-A680670B9666}"/>
              </a:ext>
            </a:extLst>
          </p:cNvPr>
          <p:cNvSpPr/>
          <p:nvPr/>
        </p:nvSpPr>
        <p:spPr>
          <a:xfrm rot="5400000">
            <a:off x="835780" y="2514047"/>
            <a:ext cx="23848" cy="26884"/>
          </a:xfrm>
          <a:custGeom>
            <a:avLst/>
            <a:gdLst>
              <a:gd name="connsiteX0" fmla="*/ 49182 w 47749"/>
              <a:gd name="connsiteY0" fmla="*/ 27244 h 50402"/>
              <a:gd name="connsiteX1" fmla="*/ 49182 w 47749"/>
              <a:gd name="connsiteY1" fmla="*/ 24591 h 50402"/>
              <a:gd name="connsiteX2" fmla="*/ 24591 w 47749"/>
              <a:gd name="connsiteY2" fmla="*/ 0 h 50402"/>
              <a:gd name="connsiteX3" fmla="*/ 0 w 47749"/>
              <a:gd name="connsiteY3" fmla="*/ 24591 h 50402"/>
              <a:gd name="connsiteX4" fmla="*/ 0 w 47749"/>
              <a:gd name="connsiteY4" fmla="*/ 27244 h 50402"/>
              <a:gd name="connsiteX5" fmla="*/ 24591 w 47749"/>
              <a:gd name="connsiteY5" fmla="*/ 51835 h 50402"/>
              <a:gd name="connsiteX6" fmla="*/ 49182 w 47749"/>
              <a:gd name="connsiteY6" fmla="*/ 27244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49" h="50402">
                <a:moveTo>
                  <a:pt x="49182" y="27244"/>
                </a:moveTo>
                <a:lnTo>
                  <a:pt x="49182" y="24591"/>
                </a:lnTo>
                <a:cubicBezTo>
                  <a:pt x="49182" y="11010"/>
                  <a:pt x="38172" y="0"/>
                  <a:pt x="24591" y="0"/>
                </a:cubicBezTo>
                <a:cubicBezTo>
                  <a:pt x="11010" y="0"/>
                  <a:pt x="0" y="11010"/>
                  <a:pt x="0" y="24591"/>
                </a:cubicBezTo>
                <a:lnTo>
                  <a:pt x="0" y="27244"/>
                </a:lnTo>
                <a:cubicBezTo>
                  <a:pt x="0" y="40825"/>
                  <a:pt x="11010" y="51835"/>
                  <a:pt x="24591" y="51835"/>
                </a:cubicBezTo>
                <a:cubicBezTo>
                  <a:pt x="38172" y="51835"/>
                  <a:pt x="49182" y="40825"/>
                  <a:pt x="49182" y="27244"/>
                </a:cubicBezTo>
                <a:close/>
              </a:path>
            </a:pathLst>
          </a:custGeom>
          <a:solidFill>
            <a:srgbClr val="86BC25"/>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0735D27A-A481-D331-3461-FCA0C16EDE71}"/>
              </a:ext>
            </a:extLst>
          </p:cNvPr>
          <p:cNvSpPr/>
          <p:nvPr/>
        </p:nvSpPr>
        <p:spPr>
          <a:xfrm rot="5400000">
            <a:off x="1127209" y="3551050"/>
            <a:ext cx="43720" cy="46691"/>
          </a:xfrm>
          <a:custGeom>
            <a:avLst/>
            <a:gdLst>
              <a:gd name="connsiteX0" fmla="*/ 58322 w 87540"/>
              <a:gd name="connsiteY0" fmla="*/ 13477 h 87540"/>
              <a:gd name="connsiteX1" fmla="*/ 76213 w 87540"/>
              <a:gd name="connsiteY1" fmla="*/ 58322 h 87540"/>
              <a:gd name="connsiteX2" fmla="*/ 31368 w 87540"/>
              <a:gd name="connsiteY2" fmla="*/ 76213 h 87540"/>
              <a:gd name="connsiteX3" fmla="*/ 13477 w 87540"/>
              <a:gd name="connsiteY3" fmla="*/ 31368 h 87540"/>
              <a:gd name="connsiteX4" fmla="*/ 58322 w 87540"/>
              <a:gd name="connsiteY4" fmla="*/ 13477 h 87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40" h="87540">
                <a:moveTo>
                  <a:pt x="58322" y="13477"/>
                </a:moveTo>
                <a:cubicBezTo>
                  <a:pt x="75646" y="20920"/>
                  <a:pt x="83656" y="40998"/>
                  <a:pt x="76213" y="58322"/>
                </a:cubicBezTo>
                <a:cubicBezTo>
                  <a:pt x="68770" y="75646"/>
                  <a:pt x="48692" y="83656"/>
                  <a:pt x="31368" y="76213"/>
                </a:cubicBezTo>
                <a:cubicBezTo>
                  <a:pt x="14044" y="68770"/>
                  <a:pt x="6034" y="48692"/>
                  <a:pt x="13477" y="31368"/>
                </a:cubicBezTo>
                <a:cubicBezTo>
                  <a:pt x="20920" y="14044"/>
                  <a:pt x="40998" y="6034"/>
                  <a:pt x="58322" y="13477"/>
                </a:cubicBezTo>
                <a:close/>
              </a:path>
            </a:pathLst>
          </a:custGeom>
          <a:solidFill>
            <a:srgbClr val="86BC25"/>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8BBA7161-8D37-F742-42A4-0B95CB325876}"/>
              </a:ext>
            </a:extLst>
          </p:cNvPr>
          <p:cNvSpPr/>
          <p:nvPr/>
        </p:nvSpPr>
        <p:spPr>
          <a:xfrm rot="5400000">
            <a:off x="531002" y="2566149"/>
            <a:ext cx="1236091" cy="1138989"/>
          </a:xfrm>
          <a:custGeom>
            <a:avLst/>
            <a:gdLst>
              <a:gd name="connsiteX0" fmla="*/ 2456532 w 2475007"/>
              <a:gd name="connsiteY0" fmla="*/ 1048178 h 2135457"/>
              <a:gd name="connsiteX1" fmla="*/ 2210410 w 2475007"/>
              <a:gd name="connsiteY1" fmla="*/ 1048178 h 2135457"/>
              <a:gd name="connsiteX2" fmla="*/ 2137513 w 2475007"/>
              <a:gd name="connsiteY2" fmla="*/ 975281 h 2135457"/>
              <a:gd name="connsiteX3" fmla="*/ 2137513 w 2475007"/>
              <a:gd name="connsiteY3" fmla="*/ 456033 h 2135457"/>
              <a:gd name="connsiteX4" fmla="*/ 1822261 w 2475007"/>
              <a:gd name="connsiteY4" fmla="*/ 22177 h 2135457"/>
              <a:gd name="connsiteX5" fmla="*/ 1822023 w 2475007"/>
              <a:gd name="connsiteY5" fmla="*/ 22177 h 2135457"/>
              <a:gd name="connsiteX6" fmla="*/ 1681427 w 2475007"/>
              <a:gd name="connsiteY6" fmla="*/ 0 h 2135457"/>
              <a:gd name="connsiteX7" fmla="*/ 456126 w 2475007"/>
              <a:gd name="connsiteY7" fmla="*/ 0 h 2135457"/>
              <a:gd name="connsiteX8" fmla="*/ 316910 w 2475007"/>
              <a:gd name="connsiteY8" fmla="*/ 21647 h 2135457"/>
              <a:gd name="connsiteX9" fmla="*/ 316910 w 2475007"/>
              <a:gd name="connsiteY9" fmla="*/ 21647 h 2135457"/>
              <a:gd name="connsiteX10" fmla="*/ 89597 w 2475007"/>
              <a:gd name="connsiteY10" fmla="*/ 184790 h 2135457"/>
              <a:gd name="connsiteX11" fmla="*/ 14 w 2475007"/>
              <a:gd name="connsiteY11" fmla="*/ 456033 h 2135457"/>
              <a:gd name="connsiteX12" fmla="*/ 14 w 2475007"/>
              <a:gd name="connsiteY12" fmla="*/ 1408951 h 2135457"/>
              <a:gd name="connsiteX13" fmla="*/ 19769 w 2475007"/>
              <a:gd name="connsiteY13" fmla="*/ 1430181 h 2135457"/>
              <a:gd name="connsiteX14" fmla="*/ 40998 w 2475007"/>
              <a:gd name="connsiteY14" fmla="*/ 1410426 h 2135457"/>
              <a:gd name="connsiteX15" fmla="*/ 40998 w 2475007"/>
              <a:gd name="connsiteY15" fmla="*/ 1408951 h 2135457"/>
              <a:gd name="connsiteX16" fmla="*/ 40998 w 2475007"/>
              <a:gd name="connsiteY16" fmla="*/ 456033 h 2135457"/>
              <a:gd name="connsiteX17" fmla="*/ 329484 w 2475007"/>
              <a:gd name="connsiteY17" fmla="*/ 60775 h 2135457"/>
              <a:gd name="connsiteX18" fmla="*/ 329484 w 2475007"/>
              <a:gd name="connsiteY18" fmla="*/ 60775 h 2135457"/>
              <a:gd name="connsiteX19" fmla="*/ 456126 w 2475007"/>
              <a:gd name="connsiteY19" fmla="*/ 40932 h 2135457"/>
              <a:gd name="connsiteX20" fmla="*/ 1681427 w 2475007"/>
              <a:gd name="connsiteY20" fmla="*/ 40932 h 2135457"/>
              <a:gd name="connsiteX21" fmla="*/ 1809581 w 2475007"/>
              <a:gd name="connsiteY21" fmla="*/ 61173 h 2135457"/>
              <a:gd name="connsiteX22" fmla="*/ 1809581 w 2475007"/>
              <a:gd name="connsiteY22" fmla="*/ 61173 h 2135457"/>
              <a:gd name="connsiteX23" fmla="*/ 2096528 w 2475007"/>
              <a:gd name="connsiteY23" fmla="*/ 456033 h 2135457"/>
              <a:gd name="connsiteX24" fmla="*/ 2096528 w 2475007"/>
              <a:gd name="connsiteY24" fmla="*/ 975307 h 2135457"/>
              <a:gd name="connsiteX25" fmla="*/ 2023172 w 2475007"/>
              <a:gd name="connsiteY25" fmla="*/ 1088705 h 2135457"/>
              <a:gd name="connsiteX26" fmla="*/ 2096528 w 2475007"/>
              <a:gd name="connsiteY26" fmla="*/ 1162061 h 2135457"/>
              <a:gd name="connsiteX27" fmla="*/ 2096528 w 2475007"/>
              <a:gd name="connsiteY27" fmla="*/ 1681335 h 2135457"/>
              <a:gd name="connsiteX28" fmla="*/ 1681427 w 2475007"/>
              <a:gd name="connsiteY28" fmla="*/ 2096436 h 2135457"/>
              <a:gd name="connsiteX29" fmla="*/ 1068777 w 2475007"/>
              <a:gd name="connsiteY29" fmla="*/ 2096436 h 2135457"/>
              <a:gd name="connsiteX30" fmla="*/ 1047547 w 2475007"/>
              <a:gd name="connsiteY30" fmla="*/ 2116191 h 2135457"/>
              <a:gd name="connsiteX31" fmla="*/ 1067302 w 2475007"/>
              <a:gd name="connsiteY31" fmla="*/ 2137421 h 2135457"/>
              <a:gd name="connsiteX32" fmla="*/ 1068777 w 2475007"/>
              <a:gd name="connsiteY32" fmla="*/ 2137421 h 2135457"/>
              <a:gd name="connsiteX33" fmla="*/ 1681560 w 2475007"/>
              <a:gd name="connsiteY33" fmla="*/ 2137421 h 2135457"/>
              <a:gd name="connsiteX34" fmla="*/ 2137646 w 2475007"/>
              <a:gd name="connsiteY34" fmla="*/ 1681335 h 2135457"/>
              <a:gd name="connsiteX35" fmla="*/ 2137646 w 2475007"/>
              <a:gd name="connsiteY35" fmla="*/ 1162061 h 2135457"/>
              <a:gd name="connsiteX36" fmla="*/ 2210543 w 2475007"/>
              <a:gd name="connsiteY36" fmla="*/ 1089163 h 2135457"/>
              <a:gd name="connsiteX37" fmla="*/ 2456664 w 2475007"/>
              <a:gd name="connsiteY37" fmla="*/ 1089163 h 2135457"/>
              <a:gd name="connsiteX38" fmla="*/ 2476420 w 2475007"/>
              <a:gd name="connsiteY38" fmla="*/ 1067933 h 2135457"/>
              <a:gd name="connsiteX39" fmla="*/ 2456664 w 2475007"/>
              <a:gd name="connsiteY39" fmla="*/ 1048178 h 2135457"/>
              <a:gd name="connsiteX40" fmla="*/ 2117034 w 2475007"/>
              <a:gd name="connsiteY40" fmla="*/ 1123251 h 2135457"/>
              <a:gd name="connsiteX41" fmla="*/ 2062388 w 2475007"/>
              <a:gd name="connsiteY41" fmla="*/ 1068604 h 2135457"/>
              <a:gd name="connsiteX42" fmla="*/ 2117034 w 2475007"/>
              <a:gd name="connsiteY42" fmla="*/ 1013958 h 2135457"/>
              <a:gd name="connsiteX43" fmla="*/ 2171680 w 2475007"/>
              <a:gd name="connsiteY43" fmla="*/ 1068604 h 2135457"/>
              <a:gd name="connsiteX44" fmla="*/ 2117034 w 2475007"/>
              <a:gd name="connsiteY44" fmla="*/ 1123251 h 213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75007" h="2135457">
                <a:moveTo>
                  <a:pt x="2456532" y="1048178"/>
                </a:moveTo>
                <a:lnTo>
                  <a:pt x="2210410" y="1048178"/>
                </a:lnTo>
                <a:cubicBezTo>
                  <a:pt x="2202350" y="1011774"/>
                  <a:pt x="2173918" y="983342"/>
                  <a:pt x="2137513" y="975281"/>
                </a:cubicBezTo>
                <a:lnTo>
                  <a:pt x="2137513" y="456033"/>
                </a:lnTo>
                <a:cubicBezTo>
                  <a:pt x="2137314" y="258456"/>
                  <a:pt x="2010114" y="83401"/>
                  <a:pt x="1822261" y="22177"/>
                </a:cubicBezTo>
                <a:lnTo>
                  <a:pt x="1822023" y="22177"/>
                </a:lnTo>
                <a:cubicBezTo>
                  <a:pt x="1776611" y="7455"/>
                  <a:pt x="1729166" y="-29"/>
                  <a:pt x="1681427" y="0"/>
                </a:cubicBezTo>
                <a:lnTo>
                  <a:pt x="456126" y="0"/>
                </a:lnTo>
                <a:cubicBezTo>
                  <a:pt x="408878" y="-64"/>
                  <a:pt x="361908" y="7239"/>
                  <a:pt x="316910" y="21647"/>
                </a:cubicBezTo>
                <a:lnTo>
                  <a:pt x="316910" y="21647"/>
                </a:lnTo>
                <a:cubicBezTo>
                  <a:pt x="226066" y="51163"/>
                  <a:pt x="146635" y="108171"/>
                  <a:pt x="89597" y="184790"/>
                </a:cubicBezTo>
                <a:cubicBezTo>
                  <a:pt x="31203" y="263145"/>
                  <a:pt x="-228" y="358313"/>
                  <a:pt x="14" y="456033"/>
                </a:cubicBezTo>
                <a:lnTo>
                  <a:pt x="14" y="1408951"/>
                </a:lnTo>
                <a:cubicBezTo>
                  <a:pt x="-394" y="1420269"/>
                  <a:pt x="8451" y="1429774"/>
                  <a:pt x="19769" y="1430181"/>
                </a:cubicBezTo>
                <a:cubicBezTo>
                  <a:pt x="31086" y="1430588"/>
                  <a:pt x="40591" y="1421744"/>
                  <a:pt x="40998" y="1410426"/>
                </a:cubicBezTo>
                <a:cubicBezTo>
                  <a:pt x="41016" y="1409935"/>
                  <a:pt x="41016" y="1409443"/>
                  <a:pt x="40998" y="1408951"/>
                </a:cubicBezTo>
                <a:lnTo>
                  <a:pt x="40998" y="456033"/>
                </a:lnTo>
                <a:cubicBezTo>
                  <a:pt x="40695" y="275474"/>
                  <a:pt x="157428" y="115536"/>
                  <a:pt x="329484" y="60775"/>
                </a:cubicBezTo>
                <a:lnTo>
                  <a:pt x="329484" y="60775"/>
                </a:lnTo>
                <a:cubicBezTo>
                  <a:pt x="370410" y="47618"/>
                  <a:pt x="413137" y="40923"/>
                  <a:pt x="456126" y="40932"/>
                </a:cubicBezTo>
                <a:lnTo>
                  <a:pt x="1681427" y="40932"/>
                </a:lnTo>
                <a:cubicBezTo>
                  <a:pt x="1724944" y="40899"/>
                  <a:pt x="1768193" y="47730"/>
                  <a:pt x="1809581" y="61173"/>
                </a:cubicBezTo>
                <a:lnTo>
                  <a:pt x="1809581" y="61173"/>
                </a:lnTo>
                <a:cubicBezTo>
                  <a:pt x="1980841" y="116497"/>
                  <a:pt x="2096796" y="276059"/>
                  <a:pt x="2096528" y="456033"/>
                </a:cubicBezTo>
                <a:lnTo>
                  <a:pt x="2096528" y="975307"/>
                </a:lnTo>
                <a:cubicBezTo>
                  <a:pt x="2044958" y="986365"/>
                  <a:pt x="2012115" y="1037134"/>
                  <a:pt x="2023172" y="1088705"/>
                </a:cubicBezTo>
                <a:cubicBezTo>
                  <a:pt x="2031054" y="1125464"/>
                  <a:pt x="2059769" y="1154179"/>
                  <a:pt x="2096528" y="1162061"/>
                </a:cubicBezTo>
                <a:lnTo>
                  <a:pt x="2096528" y="1681335"/>
                </a:lnTo>
                <a:cubicBezTo>
                  <a:pt x="2096528" y="1910240"/>
                  <a:pt x="1910332" y="2096436"/>
                  <a:pt x="1681427" y="2096436"/>
                </a:cubicBezTo>
                <a:lnTo>
                  <a:pt x="1068777" y="2096436"/>
                </a:lnTo>
                <a:cubicBezTo>
                  <a:pt x="1057459" y="2096028"/>
                  <a:pt x="1047954" y="2104873"/>
                  <a:pt x="1047547" y="2116191"/>
                </a:cubicBezTo>
                <a:cubicBezTo>
                  <a:pt x="1047139" y="2127508"/>
                  <a:pt x="1055984" y="2137013"/>
                  <a:pt x="1067302" y="2137421"/>
                </a:cubicBezTo>
                <a:cubicBezTo>
                  <a:pt x="1067793" y="2137438"/>
                  <a:pt x="1068285" y="2137438"/>
                  <a:pt x="1068777" y="2137421"/>
                </a:cubicBezTo>
                <a:lnTo>
                  <a:pt x="1681560" y="2137421"/>
                </a:lnTo>
                <a:cubicBezTo>
                  <a:pt x="1933066" y="2137421"/>
                  <a:pt x="2137646" y="1932841"/>
                  <a:pt x="2137646" y="1681335"/>
                </a:cubicBezTo>
                <a:lnTo>
                  <a:pt x="2137646" y="1162061"/>
                </a:lnTo>
                <a:cubicBezTo>
                  <a:pt x="2174054" y="1154006"/>
                  <a:pt x="2202488" y="1125571"/>
                  <a:pt x="2210543" y="1089163"/>
                </a:cubicBezTo>
                <a:lnTo>
                  <a:pt x="2456664" y="1089163"/>
                </a:lnTo>
                <a:cubicBezTo>
                  <a:pt x="2467982" y="1088756"/>
                  <a:pt x="2476827" y="1079251"/>
                  <a:pt x="2476420" y="1067933"/>
                </a:cubicBezTo>
                <a:cubicBezTo>
                  <a:pt x="2476033" y="1057187"/>
                  <a:pt x="2467411" y="1048565"/>
                  <a:pt x="2456664" y="1048178"/>
                </a:cubicBezTo>
                <a:close/>
                <a:moveTo>
                  <a:pt x="2117034" y="1123251"/>
                </a:moveTo>
                <a:cubicBezTo>
                  <a:pt x="2086854" y="1123251"/>
                  <a:pt x="2062388" y="1098785"/>
                  <a:pt x="2062388" y="1068604"/>
                </a:cubicBezTo>
                <a:cubicBezTo>
                  <a:pt x="2062388" y="1038424"/>
                  <a:pt x="2086854" y="1013958"/>
                  <a:pt x="2117034" y="1013958"/>
                </a:cubicBezTo>
                <a:cubicBezTo>
                  <a:pt x="2147215" y="1013958"/>
                  <a:pt x="2171680" y="1038424"/>
                  <a:pt x="2171680" y="1068604"/>
                </a:cubicBezTo>
                <a:cubicBezTo>
                  <a:pt x="2171651" y="1098773"/>
                  <a:pt x="2147202" y="1123222"/>
                  <a:pt x="2117034" y="1123251"/>
                </a:cubicBezTo>
                <a:close/>
              </a:path>
            </a:pathLst>
          </a:custGeom>
          <a:solidFill>
            <a:srgbClr val="86BC25"/>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21" name="Rectangle: Rounded Corners 20">
            <a:extLst>
              <a:ext uri="{FF2B5EF4-FFF2-40B4-BE49-F238E27FC236}">
                <a16:creationId xmlns:a16="http://schemas.microsoft.com/office/drawing/2014/main" id="{2BE7CA0A-62AB-BDB8-8ECB-70953C38E54A}"/>
              </a:ext>
            </a:extLst>
          </p:cNvPr>
          <p:cNvSpPr/>
          <p:nvPr/>
        </p:nvSpPr>
        <p:spPr>
          <a:xfrm rot="5400000">
            <a:off x="693690" y="2565136"/>
            <a:ext cx="910177" cy="972033"/>
          </a:xfrm>
          <a:prstGeom prst="roundRect">
            <a:avLst/>
          </a:prstGeom>
          <a:solidFill>
            <a:srgbClr val="F7F7F7"/>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22" name="Freeform: Shape 21">
            <a:extLst>
              <a:ext uri="{FF2B5EF4-FFF2-40B4-BE49-F238E27FC236}">
                <a16:creationId xmlns:a16="http://schemas.microsoft.com/office/drawing/2014/main" id="{A7E80BFF-9E06-CECA-5441-6BD13B2D91E4}"/>
              </a:ext>
            </a:extLst>
          </p:cNvPr>
          <p:cNvSpPr/>
          <p:nvPr/>
        </p:nvSpPr>
        <p:spPr>
          <a:xfrm rot="5400000">
            <a:off x="1303091" y="3768184"/>
            <a:ext cx="23848" cy="26884"/>
          </a:xfrm>
          <a:custGeom>
            <a:avLst/>
            <a:gdLst>
              <a:gd name="connsiteX0" fmla="*/ 24591 w 47749"/>
              <a:gd name="connsiteY0" fmla="*/ 51835 h 50402"/>
              <a:gd name="connsiteX1" fmla="*/ 49182 w 47749"/>
              <a:gd name="connsiteY1" fmla="*/ 27244 h 50402"/>
              <a:gd name="connsiteX2" fmla="*/ 49182 w 47749"/>
              <a:gd name="connsiteY2" fmla="*/ 24591 h 50402"/>
              <a:gd name="connsiteX3" fmla="*/ 24591 w 47749"/>
              <a:gd name="connsiteY3" fmla="*/ 0 h 50402"/>
              <a:gd name="connsiteX4" fmla="*/ 0 w 47749"/>
              <a:gd name="connsiteY4" fmla="*/ 24591 h 50402"/>
              <a:gd name="connsiteX5" fmla="*/ 0 w 47749"/>
              <a:gd name="connsiteY5" fmla="*/ 27244 h 50402"/>
              <a:gd name="connsiteX6" fmla="*/ 24591 w 47749"/>
              <a:gd name="connsiteY6" fmla="*/ 51835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49" h="50402">
                <a:moveTo>
                  <a:pt x="24591" y="51835"/>
                </a:moveTo>
                <a:cubicBezTo>
                  <a:pt x="38172" y="51835"/>
                  <a:pt x="49182" y="40825"/>
                  <a:pt x="49182" y="27244"/>
                </a:cubicBezTo>
                <a:lnTo>
                  <a:pt x="49182" y="24591"/>
                </a:lnTo>
                <a:cubicBezTo>
                  <a:pt x="49182" y="11010"/>
                  <a:pt x="38172" y="0"/>
                  <a:pt x="24591" y="0"/>
                </a:cubicBezTo>
                <a:cubicBezTo>
                  <a:pt x="11010" y="0"/>
                  <a:pt x="0" y="11010"/>
                  <a:pt x="0" y="24591"/>
                </a:cubicBezTo>
                <a:lnTo>
                  <a:pt x="0" y="27244"/>
                </a:lnTo>
                <a:cubicBezTo>
                  <a:pt x="0" y="40825"/>
                  <a:pt x="11010" y="51835"/>
                  <a:pt x="24591" y="51835"/>
                </a:cubicBezTo>
                <a:close/>
              </a:path>
            </a:pathLst>
          </a:custGeom>
          <a:solidFill>
            <a:srgbClr val="43B02A"/>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23" name="Freeform: Shape 22">
            <a:extLst>
              <a:ext uri="{FF2B5EF4-FFF2-40B4-BE49-F238E27FC236}">
                <a16:creationId xmlns:a16="http://schemas.microsoft.com/office/drawing/2014/main" id="{FD865201-E649-A8AE-E6AD-51E71B32E8C6}"/>
              </a:ext>
            </a:extLst>
          </p:cNvPr>
          <p:cNvSpPr/>
          <p:nvPr/>
        </p:nvSpPr>
        <p:spPr>
          <a:xfrm rot="5400000">
            <a:off x="1551593" y="3784027"/>
            <a:ext cx="23848" cy="26884"/>
          </a:xfrm>
          <a:custGeom>
            <a:avLst/>
            <a:gdLst>
              <a:gd name="connsiteX0" fmla="*/ 15363 w 47749"/>
              <a:gd name="connsiteY0" fmla="*/ 50118 h 50402"/>
              <a:gd name="connsiteX1" fmla="*/ 24595 w 47749"/>
              <a:gd name="connsiteY1" fmla="*/ 51948 h 50402"/>
              <a:gd name="connsiteX2" fmla="*/ 47408 w 47749"/>
              <a:gd name="connsiteY2" fmla="*/ 36589 h 50402"/>
              <a:gd name="connsiteX3" fmla="*/ 48363 w 47749"/>
              <a:gd name="connsiteY3" fmla="*/ 34201 h 50402"/>
              <a:gd name="connsiteX4" fmla="*/ 35329 w 47749"/>
              <a:gd name="connsiteY4" fmla="*/ 1959 h 50402"/>
              <a:gd name="connsiteX5" fmla="*/ 3087 w 47749"/>
              <a:gd name="connsiteY5" fmla="*/ 14993 h 50402"/>
              <a:gd name="connsiteX6" fmla="*/ 2922 w 47749"/>
              <a:gd name="connsiteY6" fmla="*/ 15393 h 50402"/>
              <a:gd name="connsiteX7" fmla="*/ 1834 w 47749"/>
              <a:gd name="connsiteY7" fmla="*/ 18046 h 50402"/>
              <a:gd name="connsiteX8" fmla="*/ 15273 w 47749"/>
              <a:gd name="connsiteY8" fmla="*/ 50081 h 50402"/>
              <a:gd name="connsiteX9" fmla="*/ 15363 w 47749"/>
              <a:gd name="connsiteY9" fmla="*/ 50118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749" h="50402">
                <a:moveTo>
                  <a:pt x="15363" y="50118"/>
                </a:moveTo>
                <a:cubicBezTo>
                  <a:pt x="18291" y="51327"/>
                  <a:pt x="21427" y="51949"/>
                  <a:pt x="24595" y="51948"/>
                </a:cubicBezTo>
                <a:cubicBezTo>
                  <a:pt x="34615" y="51942"/>
                  <a:pt x="43633" y="45870"/>
                  <a:pt x="47408" y="36589"/>
                </a:cubicBezTo>
                <a:lnTo>
                  <a:pt x="48363" y="34201"/>
                </a:lnTo>
                <a:cubicBezTo>
                  <a:pt x="53667" y="21698"/>
                  <a:pt x="47832" y="7263"/>
                  <a:pt x="35329" y="1959"/>
                </a:cubicBezTo>
                <a:cubicBezTo>
                  <a:pt x="22827" y="-3345"/>
                  <a:pt x="8391" y="2491"/>
                  <a:pt x="3087" y="14993"/>
                </a:cubicBezTo>
                <a:cubicBezTo>
                  <a:pt x="3031" y="15126"/>
                  <a:pt x="2976" y="15259"/>
                  <a:pt x="2922" y="15393"/>
                </a:cubicBezTo>
                <a:lnTo>
                  <a:pt x="1834" y="18046"/>
                </a:lnTo>
                <a:cubicBezTo>
                  <a:pt x="-3301" y="30603"/>
                  <a:pt x="2716" y="44945"/>
                  <a:pt x="15273" y="50081"/>
                </a:cubicBezTo>
                <a:cubicBezTo>
                  <a:pt x="15303" y="50093"/>
                  <a:pt x="15333" y="50105"/>
                  <a:pt x="15363" y="50118"/>
                </a:cubicBezTo>
                <a:close/>
              </a:path>
            </a:pathLst>
          </a:custGeom>
          <a:solidFill>
            <a:srgbClr val="43B02A"/>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24" name="Freeform: Shape 23">
            <a:extLst>
              <a:ext uri="{FF2B5EF4-FFF2-40B4-BE49-F238E27FC236}">
                <a16:creationId xmlns:a16="http://schemas.microsoft.com/office/drawing/2014/main" id="{57592ACE-9F6A-091D-90E1-E8B85848B81B}"/>
              </a:ext>
            </a:extLst>
          </p:cNvPr>
          <p:cNvSpPr/>
          <p:nvPr/>
        </p:nvSpPr>
        <p:spPr>
          <a:xfrm rot="5400000">
            <a:off x="1648563" y="3855273"/>
            <a:ext cx="25173" cy="26884"/>
          </a:xfrm>
          <a:custGeom>
            <a:avLst/>
            <a:gdLst>
              <a:gd name="connsiteX0" fmla="*/ 24628 w 50402"/>
              <a:gd name="connsiteY0" fmla="*/ 50841 h 50402"/>
              <a:gd name="connsiteX1" fmla="*/ 39457 w 50402"/>
              <a:gd name="connsiteY1" fmla="*/ 45828 h 50402"/>
              <a:gd name="connsiteX2" fmla="*/ 41499 w 50402"/>
              <a:gd name="connsiteY2" fmla="*/ 44289 h 50402"/>
              <a:gd name="connsiteX3" fmla="*/ 46473 w 50402"/>
              <a:gd name="connsiteY3" fmla="*/ 9870 h 50402"/>
              <a:gd name="connsiteX4" fmla="*/ 12054 w 50402"/>
              <a:gd name="connsiteY4" fmla="*/ 4896 h 50402"/>
              <a:gd name="connsiteX5" fmla="*/ 9746 w 50402"/>
              <a:gd name="connsiteY5" fmla="*/ 6647 h 50402"/>
              <a:gd name="connsiteX6" fmla="*/ 4989 w 50402"/>
              <a:gd name="connsiteY6" fmla="*/ 41096 h 50402"/>
              <a:gd name="connsiteX7" fmla="*/ 24628 w 50402"/>
              <a:gd name="connsiteY7" fmla="*/ 50841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02" h="50402">
                <a:moveTo>
                  <a:pt x="24628" y="50841"/>
                </a:moveTo>
                <a:cubicBezTo>
                  <a:pt x="29987" y="50840"/>
                  <a:pt x="35197" y="49078"/>
                  <a:pt x="39457" y="45828"/>
                </a:cubicBezTo>
                <a:lnTo>
                  <a:pt x="41499" y="44289"/>
                </a:lnTo>
                <a:cubicBezTo>
                  <a:pt x="52378" y="36158"/>
                  <a:pt x="54605" y="20748"/>
                  <a:pt x="46473" y="9870"/>
                </a:cubicBezTo>
                <a:cubicBezTo>
                  <a:pt x="38342" y="-1008"/>
                  <a:pt x="22932" y="-3235"/>
                  <a:pt x="12054" y="4896"/>
                </a:cubicBezTo>
                <a:lnTo>
                  <a:pt x="9746" y="6647"/>
                </a:lnTo>
                <a:cubicBezTo>
                  <a:pt x="-1081" y="14846"/>
                  <a:pt x="-3211" y="30270"/>
                  <a:pt x="4989" y="41096"/>
                </a:cubicBezTo>
                <a:cubicBezTo>
                  <a:pt x="9645" y="47245"/>
                  <a:pt x="16916" y="50853"/>
                  <a:pt x="24628" y="50841"/>
                </a:cubicBezTo>
                <a:close/>
              </a:path>
            </a:pathLst>
          </a:custGeom>
          <a:solidFill>
            <a:srgbClr val="43B02A"/>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948614AA-AF71-C879-ABFB-6334F978F6A0}"/>
              </a:ext>
            </a:extLst>
          </p:cNvPr>
          <p:cNvSpPr/>
          <p:nvPr/>
        </p:nvSpPr>
        <p:spPr>
          <a:xfrm rot="5400000">
            <a:off x="1428409" y="3768184"/>
            <a:ext cx="23848" cy="26884"/>
          </a:xfrm>
          <a:custGeom>
            <a:avLst/>
            <a:gdLst>
              <a:gd name="connsiteX0" fmla="*/ 24591 w 47749"/>
              <a:gd name="connsiteY0" fmla="*/ 51808 h 50402"/>
              <a:gd name="connsiteX1" fmla="*/ 49182 w 47749"/>
              <a:gd name="connsiteY1" fmla="*/ 27270 h 50402"/>
              <a:gd name="connsiteX2" fmla="*/ 49182 w 47749"/>
              <a:gd name="connsiteY2" fmla="*/ 27244 h 50402"/>
              <a:gd name="connsiteX3" fmla="*/ 49182 w 47749"/>
              <a:gd name="connsiteY3" fmla="*/ 24591 h 50402"/>
              <a:gd name="connsiteX4" fmla="*/ 24591 w 47749"/>
              <a:gd name="connsiteY4" fmla="*/ 0 h 50402"/>
              <a:gd name="connsiteX5" fmla="*/ 0 w 47749"/>
              <a:gd name="connsiteY5" fmla="*/ 24591 h 50402"/>
              <a:gd name="connsiteX6" fmla="*/ 0 w 47749"/>
              <a:gd name="connsiteY6" fmla="*/ 27244 h 50402"/>
              <a:gd name="connsiteX7" fmla="*/ 24565 w 47749"/>
              <a:gd name="connsiteY7" fmla="*/ 51808 h 50402"/>
              <a:gd name="connsiteX8" fmla="*/ 24591 w 47749"/>
              <a:gd name="connsiteY8" fmla="*/ 51808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49" h="50402">
                <a:moveTo>
                  <a:pt x="24591" y="51808"/>
                </a:moveTo>
                <a:cubicBezTo>
                  <a:pt x="38158" y="51823"/>
                  <a:pt x="49167" y="40837"/>
                  <a:pt x="49182" y="27270"/>
                </a:cubicBezTo>
                <a:cubicBezTo>
                  <a:pt x="49182" y="27261"/>
                  <a:pt x="49182" y="27252"/>
                  <a:pt x="49182" y="27244"/>
                </a:cubicBezTo>
                <a:lnTo>
                  <a:pt x="49182" y="24591"/>
                </a:lnTo>
                <a:cubicBezTo>
                  <a:pt x="49182" y="11010"/>
                  <a:pt x="38172" y="0"/>
                  <a:pt x="24591" y="0"/>
                </a:cubicBezTo>
                <a:cubicBezTo>
                  <a:pt x="11010" y="0"/>
                  <a:pt x="0" y="11010"/>
                  <a:pt x="0" y="24591"/>
                </a:cubicBezTo>
                <a:lnTo>
                  <a:pt x="0" y="27244"/>
                </a:lnTo>
                <a:cubicBezTo>
                  <a:pt x="0" y="40810"/>
                  <a:pt x="10998" y="51808"/>
                  <a:pt x="24565" y="51808"/>
                </a:cubicBezTo>
                <a:cubicBezTo>
                  <a:pt x="24573" y="51808"/>
                  <a:pt x="24582" y="51808"/>
                  <a:pt x="24591" y="51808"/>
                </a:cubicBezTo>
                <a:close/>
              </a:path>
            </a:pathLst>
          </a:custGeom>
          <a:solidFill>
            <a:srgbClr val="43B02A"/>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0710DAFF-8DD0-B7E9-127E-1CC50E2D8550}"/>
              </a:ext>
            </a:extLst>
          </p:cNvPr>
          <p:cNvSpPr/>
          <p:nvPr/>
        </p:nvSpPr>
        <p:spPr>
          <a:xfrm rot="5400000">
            <a:off x="1027612" y="3768184"/>
            <a:ext cx="23848" cy="26884"/>
          </a:xfrm>
          <a:custGeom>
            <a:avLst/>
            <a:gdLst>
              <a:gd name="connsiteX0" fmla="*/ 24591 w 47749"/>
              <a:gd name="connsiteY0" fmla="*/ 51835 h 50402"/>
              <a:gd name="connsiteX1" fmla="*/ 49182 w 47749"/>
              <a:gd name="connsiteY1" fmla="*/ 27244 h 50402"/>
              <a:gd name="connsiteX2" fmla="*/ 49182 w 47749"/>
              <a:gd name="connsiteY2" fmla="*/ 24591 h 50402"/>
              <a:gd name="connsiteX3" fmla="*/ 24591 w 47749"/>
              <a:gd name="connsiteY3" fmla="*/ 0 h 50402"/>
              <a:gd name="connsiteX4" fmla="*/ 0 w 47749"/>
              <a:gd name="connsiteY4" fmla="*/ 24591 h 50402"/>
              <a:gd name="connsiteX5" fmla="*/ 0 w 47749"/>
              <a:gd name="connsiteY5" fmla="*/ 27244 h 50402"/>
              <a:gd name="connsiteX6" fmla="*/ 24591 w 47749"/>
              <a:gd name="connsiteY6" fmla="*/ 51835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49" h="50402">
                <a:moveTo>
                  <a:pt x="24591" y="51835"/>
                </a:moveTo>
                <a:cubicBezTo>
                  <a:pt x="38172" y="51835"/>
                  <a:pt x="49182" y="40825"/>
                  <a:pt x="49182" y="27244"/>
                </a:cubicBezTo>
                <a:lnTo>
                  <a:pt x="49182" y="24591"/>
                </a:lnTo>
                <a:cubicBezTo>
                  <a:pt x="49182" y="11010"/>
                  <a:pt x="38172" y="0"/>
                  <a:pt x="24591" y="0"/>
                </a:cubicBezTo>
                <a:cubicBezTo>
                  <a:pt x="11010" y="0"/>
                  <a:pt x="0" y="11010"/>
                  <a:pt x="0" y="24591"/>
                </a:cubicBezTo>
                <a:lnTo>
                  <a:pt x="0" y="27244"/>
                </a:lnTo>
                <a:cubicBezTo>
                  <a:pt x="0" y="40825"/>
                  <a:pt x="11010" y="51835"/>
                  <a:pt x="24591" y="51835"/>
                </a:cubicBezTo>
                <a:close/>
              </a:path>
            </a:pathLst>
          </a:custGeom>
          <a:solidFill>
            <a:srgbClr val="43B02A"/>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F5E85FF2-A0B4-8E25-AF32-A5319FC57053}"/>
              </a:ext>
            </a:extLst>
          </p:cNvPr>
          <p:cNvSpPr/>
          <p:nvPr/>
        </p:nvSpPr>
        <p:spPr>
          <a:xfrm rot="5400000">
            <a:off x="1102143" y="3731156"/>
            <a:ext cx="94065" cy="100459"/>
          </a:xfrm>
          <a:custGeom>
            <a:avLst/>
            <a:gdLst>
              <a:gd name="connsiteX0" fmla="*/ 190997 w 188344"/>
              <a:gd name="connsiteY0" fmla="*/ 95366 h 188344"/>
              <a:gd name="connsiteX1" fmla="*/ 95366 w 188344"/>
              <a:gd name="connsiteY1" fmla="*/ 0 h 188344"/>
              <a:gd name="connsiteX2" fmla="*/ 0 w 188344"/>
              <a:gd name="connsiteY2" fmla="*/ 95631 h 188344"/>
              <a:gd name="connsiteX3" fmla="*/ 95366 w 188344"/>
              <a:gd name="connsiteY3" fmla="*/ 190997 h 188344"/>
              <a:gd name="connsiteX4" fmla="*/ 190997 w 188344"/>
              <a:gd name="connsiteY4" fmla="*/ 95366 h 188344"/>
              <a:gd name="connsiteX5" fmla="*/ 40719 w 188344"/>
              <a:gd name="connsiteY5" fmla="*/ 95366 h 188344"/>
              <a:gd name="connsiteX6" fmla="*/ 95366 w 188344"/>
              <a:gd name="connsiteY6" fmla="*/ 40719 h 188344"/>
              <a:gd name="connsiteX7" fmla="*/ 150012 w 188344"/>
              <a:gd name="connsiteY7" fmla="*/ 95366 h 188344"/>
              <a:gd name="connsiteX8" fmla="*/ 95366 w 188344"/>
              <a:gd name="connsiteY8" fmla="*/ 150012 h 188344"/>
              <a:gd name="connsiteX9" fmla="*/ 40719 w 188344"/>
              <a:gd name="connsiteY9" fmla="*/ 95366 h 18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344" h="188344">
                <a:moveTo>
                  <a:pt x="190997" y="95366"/>
                </a:moveTo>
                <a:cubicBezTo>
                  <a:pt x="190924" y="42624"/>
                  <a:pt x="148108" y="-73"/>
                  <a:pt x="95366" y="0"/>
                </a:cubicBezTo>
                <a:cubicBezTo>
                  <a:pt x="42624" y="73"/>
                  <a:pt x="-73" y="42889"/>
                  <a:pt x="0" y="95631"/>
                </a:cubicBezTo>
                <a:cubicBezTo>
                  <a:pt x="73" y="148270"/>
                  <a:pt x="42727" y="190924"/>
                  <a:pt x="95366" y="190997"/>
                </a:cubicBezTo>
                <a:cubicBezTo>
                  <a:pt x="148158" y="190939"/>
                  <a:pt x="190939" y="148157"/>
                  <a:pt x="190997" y="95366"/>
                </a:cubicBezTo>
                <a:close/>
                <a:moveTo>
                  <a:pt x="40719" y="95366"/>
                </a:moveTo>
                <a:cubicBezTo>
                  <a:pt x="40719" y="65186"/>
                  <a:pt x="65186" y="40719"/>
                  <a:pt x="95366" y="40719"/>
                </a:cubicBezTo>
                <a:cubicBezTo>
                  <a:pt x="125546" y="40719"/>
                  <a:pt x="150012" y="65186"/>
                  <a:pt x="150012" y="95366"/>
                </a:cubicBezTo>
                <a:cubicBezTo>
                  <a:pt x="150012" y="125546"/>
                  <a:pt x="125546" y="150012"/>
                  <a:pt x="95366" y="150012"/>
                </a:cubicBezTo>
                <a:cubicBezTo>
                  <a:pt x="65198" y="149983"/>
                  <a:pt x="40749" y="125534"/>
                  <a:pt x="40719" y="95366"/>
                </a:cubicBezTo>
                <a:close/>
              </a:path>
            </a:pathLst>
          </a:custGeom>
          <a:solidFill>
            <a:srgbClr val="43B02A"/>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90F30658-66CA-86CA-5369-679583A56B9B}"/>
              </a:ext>
            </a:extLst>
          </p:cNvPr>
          <p:cNvSpPr/>
          <p:nvPr/>
        </p:nvSpPr>
        <p:spPr>
          <a:xfrm rot="5400000">
            <a:off x="1132501" y="3763806"/>
            <a:ext cx="33121" cy="35372"/>
          </a:xfrm>
          <a:custGeom>
            <a:avLst/>
            <a:gdLst>
              <a:gd name="connsiteX0" fmla="*/ 68282 w 66318"/>
              <a:gd name="connsiteY0" fmla="*/ 34141 h 66318"/>
              <a:gd name="connsiteX1" fmla="*/ 34141 w 66318"/>
              <a:gd name="connsiteY1" fmla="*/ 68282 h 66318"/>
              <a:gd name="connsiteX2" fmla="*/ 0 w 66318"/>
              <a:gd name="connsiteY2" fmla="*/ 34141 h 66318"/>
              <a:gd name="connsiteX3" fmla="*/ 34141 w 66318"/>
              <a:gd name="connsiteY3" fmla="*/ 0 h 66318"/>
              <a:gd name="connsiteX4" fmla="*/ 68282 w 66318"/>
              <a:gd name="connsiteY4" fmla="*/ 34141 h 66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8" h="66318">
                <a:moveTo>
                  <a:pt x="68282" y="34141"/>
                </a:moveTo>
                <a:cubicBezTo>
                  <a:pt x="68282" y="52996"/>
                  <a:pt x="52996" y="68282"/>
                  <a:pt x="34141" y="68282"/>
                </a:cubicBezTo>
                <a:cubicBezTo>
                  <a:pt x="15285" y="68282"/>
                  <a:pt x="0" y="52996"/>
                  <a:pt x="0" y="34141"/>
                </a:cubicBezTo>
                <a:cubicBezTo>
                  <a:pt x="0" y="15285"/>
                  <a:pt x="15285" y="0"/>
                  <a:pt x="34141" y="0"/>
                </a:cubicBezTo>
                <a:cubicBezTo>
                  <a:pt x="52996" y="0"/>
                  <a:pt x="68282" y="15285"/>
                  <a:pt x="68282" y="34141"/>
                </a:cubicBezTo>
                <a:close/>
              </a:path>
            </a:pathLst>
          </a:custGeom>
          <a:solidFill>
            <a:srgbClr val="43B02A"/>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6632F223-26B6-E546-108A-8E259CB9B123}"/>
              </a:ext>
            </a:extLst>
          </p:cNvPr>
          <p:cNvSpPr/>
          <p:nvPr/>
        </p:nvSpPr>
        <p:spPr>
          <a:xfrm rot="5400000">
            <a:off x="1129820" y="4808190"/>
            <a:ext cx="38422" cy="41033"/>
          </a:xfrm>
          <a:custGeom>
            <a:avLst/>
            <a:gdLst>
              <a:gd name="connsiteX0" fmla="*/ 72870 w 76929"/>
              <a:gd name="connsiteY0" fmla="*/ 33700 h 76929"/>
              <a:gd name="connsiteX1" fmla="*/ 44640 w 76929"/>
              <a:gd name="connsiteY1" fmla="*/ 72870 h 76929"/>
              <a:gd name="connsiteX2" fmla="*/ 5470 w 76929"/>
              <a:gd name="connsiteY2" fmla="*/ 44640 h 76929"/>
              <a:gd name="connsiteX3" fmla="*/ 33700 w 76929"/>
              <a:gd name="connsiteY3" fmla="*/ 5470 h 76929"/>
              <a:gd name="connsiteX4" fmla="*/ 72870 w 76929"/>
              <a:gd name="connsiteY4" fmla="*/ 33700 h 76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29" h="76929">
                <a:moveTo>
                  <a:pt x="72870" y="33700"/>
                </a:moveTo>
                <a:cubicBezTo>
                  <a:pt x="75891" y="52312"/>
                  <a:pt x="63252" y="69848"/>
                  <a:pt x="44640" y="72870"/>
                </a:cubicBezTo>
                <a:cubicBezTo>
                  <a:pt x="26028" y="75891"/>
                  <a:pt x="8491" y="63252"/>
                  <a:pt x="5470" y="44640"/>
                </a:cubicBezTo>
                <a:cubicBezTo>
                  <a:pt x="2449" y="26028"/>
                  <a:pt x="15088" y="8491"/>
                  <a:pt x="33700" y="5470"/>
                </a:cubicBezTo>
                <a:cubicBezTo>
                  <a:pt x="52311" y="2449"/>
                  <a:pt x="69848" y="15088"/>
                  <a:pt x="72870" y="33700"/>
                </a:cubicBezTo>
                <a:close/>
              </a:path>
            </a:pathLst>
          </a:custGeom>
          <a:solidFill>
            <a:srgbClr val="43B02A"/>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3129785A-2115-7837-2647-CFE84B954DDD}"/>
              </a:ext>
            </a:extLst>
          </p:cNvPr>
          <p:cNvSpPr/>
          <p:nvPr/>
        </p:nvSpPr>
        <p:spPr>
          <a:xfrm rot="5400000">
            <a:off x="530339" y="3820969"/>
            <a:ext cx="1237416" cy="1138989"/>
          </a:xfrm>
          <a:custGeom>
            <a:avLst/>
            <a:gdLst>
              <a:gd name="connsiteX0" fmla="*/ 2456492 w 2477660"/>
              <a:gd name="connsiteY0" fmla="*/ 1048178 h 2135457"/>
              <a:gd name="connsiteX1" fmla="*/ 2210397 w 2477660"/>
              <a:gd name="connsiteY1" fmla="*/ 1048178 h 2135457"/>
              <a:gd name="connsiteX2" fmla="*/ 2137500 w 2477660"/>
              <a:gd name="connsiteY2" fmla="*/ 975281 h 2135457"/>
              <a:gd name="connsiteX3" fmla="*/ 2137500 w 2477660"/>
              <a:gd name="connsiteY3" fmla="*/ 456033 h 2135457"/>
              <a:gd name="connsiteX4" fmla="*/ 1822248 w 2477660"/>
              <a:gd name="connsiteY4" fmla="*/ 22177 h 2135457"/>
              <a:gd name="connsiteX5" fmla="*/ 1821983 w 2477660"/>
              <a:gd name="connsiteY5" fmla="*/ 22177 h 2135457"/>
              <a:gd name="connsiteX6" fmla="*/ 1681387 w 2477660"/>
              <a:gd name="connsiteY6" fmla="*/ 0 h 2135457"/>
              <a:gd name="connsiteX7" fmla="*/ 456086 w 2477660"/>
              <a:gd name="connsiteY7" fmla="*/ 0 h 2135457"/>
              <a:gd name="connsiteX8" fmla="*/ 316923 w 2477660"/>
              <a:gd name="connsiteY8" fmla="*/ 21726 h 2135457"/>
              <a:gd name="connsiteX9" fmla="*/ 303673 w 2477660"/>
              <a:gd name="connsiteY9" fmla="*/ 47497 h 2135457"/>
              <a:gd name="connsiteX10" fmla="*/ 329444 w 2477660"/>
              <a:gd name="connsiteY10" fmla="*/ 60748 h 2135457"/>
              <a:gd name="connsiteX11" fmla="*/ 456086 w 2477660"/>
              <a:gd name="connsiteY11" fmla="*/ 40932 h 2135457"/>
              <a:gd name="connsiteX12" fmla="*/ 1681387 w 2477660"/>
              <a:gd name="connsiteY12" fmla="*/ 40932 h 2135457"/>
              <a:gd name="connsiteX13" fmla="*/ 1809541 w 2477660"/>
              <a:gd name="connsiteY13" fmla="*/ 61172 h 2135457"/>
              <a:gd name="connsiteX14" fmla="*/ 1809541 w 2477660"/>
              <a:gd name="connsiteY14" fmla="*/ 61172 h 2135457"/>
              <a:gd name="connsiteX15" fmla="*/ 2096382 w 2477660"/>
              <a:gd name="connsiteY15" fmla="*/ 456033 h 2135457"/>
              <a:gd name="connsiteX16" fmla="*/ 2096382 w 2477660"/>
              <a:gd name="connsiteY16" fmla="*/ 975307 h 2135457"/>
              <a:gd name="connsiteX17" fmla="*/ 2023026 w 2477660"/>
              <a:gd name="connsiteY17" fmla="*/ 1088704 h 2135457"/>
              <a:gd name="connsiteX18" fmla="*/ 2096382 w 2477660"/>
              <a:gd name="connsiteY18" fmla="*/ 1162060 h 2135457"/>
              <a:gd name="connsiteX19" fmla="*/ 2096382 w 2477660"/>
              <a:gd name="connsiteY19" fmla="*/ 1408951 h 2135457"/>
              <a:gd name="connsiteX20" fmla="*/ 2096382 w 2477660"/>
              <a:gd name="connsiteY20" fmla="*/ 1408951 h 2135457"/>
              <a:gd name="connsiteX21" fmla="*/ 2096382 w 2477660"/>
              <a:gd name="connsiteY21" fmla="*/ 1681334 h 2135457"/>
              <a:gd name="connsiteX22" fmla="*/ 1681254 w 2477660"/>
              <a:gd name="connsiteY22" fmla="*/ 2096435 h 2135457"/>
              <a:gd name="connsiteX23" fmla="*/ 456086 w 2477660"/>
              <a:gd name="connsiteY23" fmla="*/ 2096435 h 2135457"/>
              <a:gd name="connsiteX24" fmla="*/ 40985 w 2477660"/>
              <a:gd name="connsiteY24" fmla="*/ 1681334 h 2135457"/>
              <a:gd name="connsiteX25" fmla="*/ 40985 w 2477660"/>
              <a:gd name="connsiteY25" fmla="*/ 1408951 h 2135457"/>
              <a:gd name="connsiteX26" fmla="*/ 19755 w 2477660"/>
              <a:gd name="connsiteY26" fmla="*/ 1389196 h 2135457"/>
              <a:gd name="connsiteX27" fmla="*/ 0 w 2477660"/>
              <a:gd name="connsiteY27" fmla="*/ 1408951 h 2135457"/>
              <a:gd name="connsiteX28" fmla="*/ 0 w 2477660"/>
              <a:gd name="connsiteY28" fmla="*/ 1681334 h 2135457"/>
              <a:gd name="connsiteX29" fmla="*/ 456086 w 2477660"/>
              <a:gd name="connsiteY29" fmla="*/ 2137420 h 2135457"/>
              <a:gd name="connsiteX30" fmla="*/ 1681387 w 2477660"/>
              <a:gd name="connsiteY30" fmla="*/ 2137420 h 2135457"/>
              <a:gd name="connsiteX31" fmla="*/ 2137500 w 2477660"/>
              <a:gd name="connsiteY31" fmla="*/ 1681334 h 2135457"/>
              <a:gd name="connsiteX32" fmla="*/ 2137500 w 2477660"/>
              <a:gd name="connsiteY32" fmla="*/ 1408951 h 2135457"/>
              <a:gd name="connsiteX33" fmla="*/ 2137500 w 2477660"/>
              <a:gd name="connsiteY33" fmla="*/ 1408951 h 2135457"/>
              <a:gd name="connsiteX34" fmla="*/ 2137500 w 2477660"/>
              <a:gd name="connsiteY34" fmla="*/ 1162060 h 2135457"/>
              <a:gd name="connsiteX35" fmla="*/ 2210397 w 2477660"/>
              <a:gd name="connsiteY35" fmla="*/ 1089163 h 2135457"/>
              <a:gd name="connsiteX36" fmla="*/ 2456492 w 2477660"/>
              <a:gd name="connsiteY36" fmla="*/ 1089163 h 2135457"/>
              <a:gd name="connsiteX37" fmla="*/ 2477721 w 2477660"/>
              <a:gd name="connsiteY37" fmla="*/ 1069408 h 2135457"/>
              <a:gd name="connsiteX38" fmla="*/ 2457966 w 2477660"/>
              <a:gd name="connsiteY38" fmla="*/ 1048178 h 2135457"/>
              <a:gd name="connsiteX39" fmla="*/ 2456492 w 2477660"/>
              <a:gd name="connsiteY39" fmla="*/ 1048178 h 2135457"/>
              <a:gd name="connsiteX40" fmla="*/ 2116941 w 2477660"/>
              <a:gd name="connsiteY40" fmla="*/ 1123330 h 2135457"/>
              <a:gd name="connsiteX41" fmla="*/ 2062294 w 2477660"/>
              <a:gd name="connsiteY41" fmla="*/ 1068684 h 2135457"/>
              <a:gd name="connsiteX42" fmla="*/ 2116941 w 2477660"/>
              <a:gd name="connsiteY42" fmla="*/ 1014037 h 2135457"/>
              <a:gd name="connsiteX43" fmla="*/ 2171587 w 2477660"/>
              <a:gd name="connsiteY43" fmla="*/ 1068684 h 2135457"/>
              <a:gd name="connsiteX44" fmla="*/ 2116994 w 2477660"/>
              <a:gd name="connsiteY44" fmla="*/ 1123251 h 213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77660" h="2135457">
                <a:moveTo>
                  <a:pt x="2456492" y="1048178"/>
                </a:moveTo>
                <a:lnTo>
                  <a:pt x="2210397" y="1048178"/>
                </a:lnTo>
                <a:cubicBezTo>
                  <a:pt x="2202318" y="1011783"/>
                  <a:pt x="2173895" y="983359"/>
                  <a:pt x="2137500" y="975281"/>
                </a:cubicBezTo>
                <a:lnTo>
                  <a:pt x="2137500" y="456033"/>
                </a:lnTo>
                <a:cubicBezTo>
                  <a:pt x="2137275" y="258464"/>
                  <a:pt x="2010084" y="83422"/>
                  <a:pt x="1822248" y="22177"/>
                </a:cubicBezTo>
                <a:lnTo>
                  <a:pt x="1821983" y="22177"/>
                </a:lnTo>
                <a:cubicBezTo>
                  <a:pt x="1776571" y="7454"/>
                  <a:pt x="1729126" y="-29"/>
                  <a:pt x="1681387" y="0"/>
                </a:cubicBezTo>
                <a:lnTo>
                  <a:pt x="456086" y="0"/>
                </a:lnTo>
                <a:cubicBezTo>
                  <a:pt x="408851" y="-33"/>
                  <a:pt x="361900" y="7297"/>
                  <a:pt x="316923" y="21726"/>
                </a:cubicBezTo>
                <a:cubicBezTo>
                  <a:pt x="306148" y="25184"/>
                  <a:pt x="300215" y="36722"/>
                  <a:pt x="303673" y="47497"/>
                </a:cubicBezTo>
                <a:cubicBezTo>
                  <a:pt x="307130" y="58273"/>
                  <a:pt x="318669" y="64205"/>
                  <a:pt x="329444" y="60748"/>
                </a:cubicBezTo>
                <a:cubicBezTo>
                  <a:pt x="370372" y="47605"/>
                  <a:pt x="413099" y="40920"/>
                  <a:pt x="456086" y="40932"/>
                </a:cubicBezTo>
                <a:lnTo>
                  <a:pt x="1681387" y="40932"/>
                </a:lnTo>
                <a:cubicBezTo>
                  <a:pt x="1724904" y="40894"/>
                  <a:pt x="1768154" y="47725"/>
                  <a:pt x="1809541" y="61172"/>
                </a:cubicBezTo>
                <a:lnTo>
                  <a:pt x="1809541" y="61172"/>
                </a:lnTo>
                <a:cubicBezTo>
                  <a:pt x="1980754" y="116541"/>
                  <a:pt x="2096656" y="276090"/>
                  <a:pt x="2096382" y="456033"/>
                </a:cubicBezTo>
                <a:lnTo>
                  <a:pt x="2096382" y="975307"/>
                </a:lnTo>
                <a:cubicBezTo>
                  <a:pt x="2044812" y="986364"/>
                  <a:pt x="2011969" y="1037134"/>
                  <a:pt x="2023026" y="1088704"/>
                </a:cubicBezTo>
                <a:cubicBezTo>
                  <a:pt x="2030908" y="1125464"/>
                  <a:pt x="2059623" y="1154179"/>
                  <a:pt x="2096382" y="1162060"/>
                </a:cubicBezTo>
                <a:lnTo>
                  <a:pt x="2096382" y="1408951"/>
                </a:lnTo>
                <a:lnTo>
                  <a:pt x="2096382" y="1408951"/>
                </a:lnTo>
                <a:lnTo>
                  <a:pt x="2096382" y="1681334"/>
                </a:lnTo>
                <a:cubicBezTo>
                  <a:pt x="2096382" y="1910239"/>
                  <a:pt x="1910160" y="2096435"/>
                  <a:pt x="1681254" y="2096435"/>
                </a:cubicBezTo>
                <a:lnTo>
                  <a:pt x="456086" y="2096435"/>
                </a:lnTo>
                <a:cubicBezTo>
                  <a:pt x="227181" y="2096435"/>
                  <a:pt x="40985" y="1910239"/>
                  <a:pt x="40985" y="1681334"/>
                </a:cubicBezTo>
                <a:lnTo>
                  <a:pt x="40985" y="1408951"/>
                </a:lnTo>
                <a:cubicBezTo>
                  <a:pt x="40578" y="1397633"/>
                  <a:pt x="31073" y="1388789"/>
                  <a:pt x="19755" y="1389196"/>
                </a:cubicBezTo>
                <a:cubicBezTo>
                  <a:pt x="9009" y="1389583"/>
                  <a:pt x="387" y="1398205"/>
                  <a:pt x="0" y="1408951"/>
                </a:cubicBezTo>
                <a:lnTo>
                  <a:pt x="0" y="1681334"/>
                </a:lnTo>
                <a:cubicBezTo>
                  <a:pt x="0" y="1932841"/>
                  <a:pt x="204606" y="2137420"/>
                  <a:pt x="456086" y="2137420"/>
                </a:cubicBezTo>
                <a:lnTo>
                  <a:pt x="1681387" y="2137420"/>
                </a:lnTo>
                <a:cubicBezTo>
                  <a:pt x="1932894" y="2137420"/>
                  <a:pt x="2137500" y="1932841"/>
                  <a:pt x="2137500" y="1681334"/>
                </a:cubicBezTo>
                <a:lnTo>
                  <a:pt x="2137500" y="1408951"/>
                </a:lnTo>
                <a:lnTo>
                  <a:pt x="2137500" y="1408951"/>
                </a:lnTo>
                <a:lnTo>
                  <a:pt x="2137500" y="1162060"/>
                </a:lnTo>
                <a:cubicBezTo>
                  <a:pt x="2173904" y="1153999"/>
                  <a:pt x="2202336" y="1125568"/>
                  <a:pt x="2210397" y="1089163"/>
                </a:cubicBezTo>
                <a:lnTo>
                  <a:pt x="2456492" y="1089163"/>
                </a:lnTo>
                <a:cubicBezTo>
                  <a:pt x="2467809" y="1089570"/>
                  <a:pt x="2477314" y="1080726"/>
                  <a:pt x="2477721" y="1069408"/>
                </a:cubicBezTo>
                <a:cubicBezTo>
                  <a:pt x="2478129" y="1058090"/>
                  <a:pt x="2469284" y="1048585"/>
                  <a:pt x="2457966" y="1048178"/>
                </a:cubicBezTo>
                <a:cubicBezTo>
                  <a:pt x="2457475" y="1048160"/>
                  <a:pt x="2456983" y="1048160"/>
                  <a:pt x="2456492" y="1048178"/>
                </a:cubicBezTo>
                <a:close/>
                <a:moveTo>
                  <a:pt x="2116941" y="1123330"/>
                </a:moveTo>
                <a:cubicBezTo>
                  <a:pt x="2086760" y="1123330"/>
                  <a:pt x="2062294" y="1098864"/>
                  <a:pt x="2062294" y="1068684"/>
                </a:cubicBezTo>
                <a:cubicBezTo>
                  <a:pt x="2062294" y="1038503"/>
                  <a:pt x="2086760" y="1014037"/>
                  <a:pt x="2116941" y="1014037"/>
                </a:cubicBezTo>
                <a:cubicBezTo>
                  <a:pt x="2147121" y="1014037"/>
                  <a:pt x="2171587" y="1038503"/>
                  <a:pt x="2171587" y="1068684"/>
                </a:cubicBezTo>
                <a:cubicBezTo>
                  <a:pt x="2171514" y="1098800"/>
                  <a:pt x="2147110" y="1123192"/>
                  <a:pt x="2116994" y="1123251"/>
                </a:cubicBezTo>
                <a:close/>
              </a:path>
            </a:pathLst>
          </a:custGeom>
          <a:solidFill>
            <a:srgbClr val="43B02A"/>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F425E214-F6B9-76E8-C54C-28CB657A3BB8}"/>
              </a:ext>
            </a:extLst>
          </p:cNvPr>
          <p:cNvSpPr/>
          <p:nvPr/>
        </p:nvSpPr>
        <p:spPr>
          <a:xfrm rot="5400000">
            <a:off x="693690" y="3819285"/>
            <a:ext cx="910177" cy="972033"/>
          </a:xfrm>
          <a:prstGeom prst="roundRect">
            <a:avLst/>
          </a:prstGeom>
          <a:solidFill>
            <a:srgbClr val="F7F7F7"/>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grpSp>
        <p:nvGrpSpPr>
          <p:cNvPr id="405" name="Group 404">
            <a:extLst>
              <a:ext uri="{FF2B5EF4-FFF2-40B4-BE49-F238E27FC236}">
                <a16:creationId xmlns:a16="http://schemas.microsoft.com/office/drawing/2014/main" id="{E7A63AD4-A09D-0F78-FD00-1FA8C168FA9C}"/>
              </a:ext>
            </a:extLst>
          </p:cNvPr>
          <p:cNvGrpSpPr/>
          <p:nvPr/>
        </p:nvGrpSpPr>
        <p:grpSpPr>
          <a:xfrm>
            <a:off x="899271" y="2768215"/>
            <a:ext cx="517042" cy="556069"/>
            <a:chOff x="11004550" y="0"/>
            <a:chExt cx="6303963" cy="6858000"/>
          </a:xfrm>
          <a:solidFill>
            <a:srgbClr val="86BC25"/>
          </a:solidFill>
        </p:grpSpPr>
        <p:sp>
          <p:nvSpPr>
            <p:cNvPr id="406" name="Freeform 216">
              <a:extLst>
                <a:ext uri="{FF2B5EF4-FFF2-40B4-BE49-F238E27FC236}">
                  <a16:creationId xmlns:a16="http://schemas.microsoft.com/office/drawing/2014/main" id="{B0F2458D-5354-11FB-415A-A6BEB0F6D6FF}"/>
                </a:ext>
              </a:extLst>
            </p:cNvPr>
            <p:cNvSpPr>
              <a:spLocks noEditPoints="1"/>
            </p:cNvSpPr>
            <p:nvPr/>
          </p:nvSpPr>
          <p:spPr bwMode="auto">
            <a:xfrm>
              <a:off x="14576425" y="2625725"/>
              <a:ext cx="2732088" cy="4232275"/>
            </a:xfrm>
            <a:custGeom>
              <a:avLst/>
              <a:gdLst>
                <a:gd name="T0" fmla="*/ 1532 w 1721"/>
                <a:gd name="T1" fmla="*/ 2000 h 2666"/>
                <a:gd name="T2" fmla="*/ 1476 w 1721"/>
                <a:gd name="T3" fmla="*/ 2034 h 2666"/>
                <a:gd name="T4" fmla="*/ 219 w 1721"/>
                <a:gd name="T5" fmla="*/ 2028 h 2666"/>
                <a:gd name="T6" fmla="*/ 177 w 1721"/>
                <a:gd name="T7" fmla="*/ 1977 h 2666"/>
                <a:gd name="T8" fmla="*/ 177 w 1721"/>
                <a:gd name="T9" fmla="*/ 267 h 2666"/>
                <a:gd name="T10" fmla="*/ 219 w 1721"/>
                <a:gd name="T11" fmla="*/ 215 h 2666"/>
                <a:gd name="T12" fmla="*/ 1476 w 1721"/>
                <a:gd name="T13" fmla="*/ 209 h 2666"/>
                <a:gd name="T14" fmla="*/ 1532 w 1721"/>
                <a:gd name="T15" fmla="*/ 243 h 2666"/>
                <a:gd name="T16" fmla="*/ 1476 w 1721"/>
                <a:gd name="T17" fmla="*/ 2419 h 2666"/>
                <a:gd name="T18" fmla="*/ 1209 w 1721"/>
                <a:gd name="T19" fmla="*/ 2415 h 2666"/>
                <a:gd name="T20" fmla="*/ 1193 w 1721"/>
                <a:gd name="T21" fmla="*/ 2385 h 2666"/>
                <a:gd name="T22" fmla="*/ 1209 w 1721"/>
                <a:gd name="T23" fmla="*/ 2321 h 2666"/>
                <a:gd name="T24" fmla="*/ 1476 w 1721"/>
                <a:gd name="T25" fmla="*/ 2315 h 2666"/>
                <a:gd name="T26" fmla="*/ 1532 w 1721"/>
                <a:gd name="T27" fmla="*/ 2347 h 2666"/>
                <a:gd name="T28" fmla="*/ 1540 w 1721"/>
                <a:gd name="T29" fmla="*/ 2391 h 2666"/>
                <a:gd name="T30" fmla="*/ 1476 w 1721"/>
                <a:gd name="T31" fmla="*/ 2419 h 2666"/>
                <a:gd name="T32" fmla="*/ 840 w 1721"/>
                <a:gd name="T33" fmla="*/ 2523 h 2666"/>
                <a:gd name="T34" fmla="*/ 763 w 1721"/>
                <a:gd name="T35" fmla="*/ 2491 h 2666"/>
                <a:gd name="T36" fmla="*/ 715 w 1721"/>
                <a:gd name="T37" fmla="*/ 2437 h 2666"/>
                <a:gd name="T38" fmla="*/ 701 w 1721"/>
                <a:gd name="T39" fmla="*/ 2385 h 2666"/>
                <a:gd name="T40" fmla="*/ 721 w 1721"/>
                <a:gd name="T41" fmla="*/ 2297 h 2666"/>
                <a:gd name="T42" fmla="*/ 775 w 1721"/>
                <a:gd name="T43" fmla="*/ 2238 h 2666"/>
                <a:gd name="T44" fmla="*/ 858 w 1721"/>
                <a:gd name="T45" fmla="*/ 2210 h 2666"/>
                <a:gd name="T46" fmla="*/ 916 w 1721"/>
                <a:gd name="T47" fmla="*/ 2216 h 2666"/>
                <a:gd name="T48" fmla="*/ 974 w 1721"/>
                <a:gd name="T49" fmla="*/ 2258 h 2666"/>
                <a:gd name="T50" fmla="*/ 1012 w 1721"/>
                <a:gd name="T51" fmla="*/ 2329 h 2666"/>
                <a:gd name="T52" fmla="*/ 1018 w 1721"/>
                <a:gd name="T53" fmla="*/ 2397 h 2666"/>
                <a:gd name="T54" fmla="*/ 992 w 1721"/>
                <a:gd name="T55" fmla="*/ 2461 h 2666"/>
                <a:gd name="T56" fmla="*/ 916 w 1721"/>
                <a:gd name="T57" fmla="*/ 2519 h 2666"/>
                <a:gd name="T58" fmla="*/ 492 w 1721"/>
                <a:gd name="T59" fmla="*/ 2419 h 2666"/>
                <a:gd name="T60" fmla="*/ 225 w 1721"/>
                <a:gd name="T61" fmla="*/ 2415 h 2666"/>
                <a:gd name="T62" fmla="*/ 209 w 1721"/>
                <a:gd name="T63" fmla="*/ 2385 h 2666"/>
                <a:gd name="T64" fmla="*/ 225 w 1721"/>
                <a:gd name="T65" fmla="*/ 2321 h 2666"/>
                <a:gd name="T66" fmla="*/ 492 w 1721"/>
                <a:gd name="T67" fmla="*/ 2315 h 2666"/>
                <a:gd name="T68" fmla="*/ 547 w 1721"/>
                <a:gd name="T69" fmla="*/ 2347 h 2666"/>
                <a:gd name="T70" fmla="*/ 555 w 1721"/>
                <a:gd name="T71" fmla="*/ 2391 h 2666"/>
                <a:gd name="T72" fmla="*/ 492 w 1721"/>
                <a:gd name="T73" fmla="*/ 2419 h 2666"/>
                <a:gd name="T74" fmla="*/ 245 w 1721"/>
                <a:gd name="T75" fmla="*/ 0 h 2666"/>
                <a:gd name="T76" fmla="*/ 125 w 1721"/>
                <a:gd name="T77" fmla="*/ 28 h 2666"/>
                <a:gd name="T78" fmla="*/ 39 w 1721"/>
                <a:gd name="T79" fmla="*/ 105 h 2666"/>
                <a:gd name="T80" fmla="*/ 0 w 1721"/>
                <a:gd name="T81" fmla="*/ 219 h 2666"/>
                <a:gd name="T82" fmla="*/ 0 w 1721"/>
                <a:gd name="T83" fmla="*/ 2445 h 2666"/>
                <a:gd name="T84" fmla="*/ 39 w 1721"/>
                <a:gd name="T85" fmla="*/ 2558 h 2666"/>
                <a:gd name="T86" fmla="*/ 125 w 1721"/>
                <a:gd name="T87" fmla="*/ 2636 h 2666"/>
                <a:gd name="T88" fmla="*/ 245 w 1721"/>
                <a:gd name="T89" fmla="*/ 2666 h 2666"/>
                <a:gd name="T90" fmla="*/ 1550 w 1721"/>
                <a:gd name="T91" fmla="*/ 2660 h 2666"/>
                <a:gd name="T92" fmla="*/ 1639 w 1721"/>
                <a:gd name="T93" fmla="*/ 2610 h 2666"/>
                <a:gd name="T94" fmla="*/ 1703 w 1721"/>
                <a:gd name="T95" fmla="*/ 2517 h 2666"/>
                <a:gd name="T96" fmla="*/ 1721 w 1721"/>
                <a:gd name="T97" fmla="*/ 2419 h 2666"/>
                <a:gd name="T98" fmla="*/ 1711 w 1721"/>
                <a:gd name="T99" fmla="*/ 169 h 2666"/>
                <a:gd name="T100" fmla="*/ 1655 w 1721"/>
                <a:gd name="T101" fmla="*/ 70 h 2666"/>
                <a:gd name="T102" fmla="*/ 1570 w 1721"/>
                <a:gd name="T103" fmla="*/ 10 h 2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1" h="2666">
                  <a:moveTo>
                    <a:pt x="1546" y="1965"/>
                  </a:moveTo>
                  <a:lnTo>
                    <a:pt x="1546" y="1965"/>
                  </a:lnTo>
                  <a:lnTo>
                    <a:pt x="1544" y="1977"/>
                  </a:lnTo>
                  <a:lnTo>
                    <a:pt x="1540" y="1989"/>
                  </a:lnTo>
                  <a:lnTo>
                    <a:pt x="1532" y="2000"/>
                  </a:lnTo>
                  <a:lnTo>
                    <a:pt x="1524" y="2012"/>
                  </a:lnTo>
                  <a:lnTo>
                    <a:pt x="1512" y="2020"/>
                  </a:lnTo>
                  <a:lnTo>
                    <a:pt x="1502" y="2028"/>
                  </a:lnTo>
                  <a:lnTo>
                    <a:pt x="1488" y="2032"/>
                  </a:lnTo>
                  <a:lnTo>
                    <a:pt x="1476" y="2034"/>
                  </a:lnTo>
                  <a:lnTo>
                    <a:pt x="1476" y="2034"/>
                  </a:lnTo>
                  <a:lnTo>
                    <a:pt x="245" y="2034"/>
                  </a:lnTo>
                  <a:lnTo>
                    <a:pt x="245" y="2034"/>
                  </a:lnTo>
                  <a:lnTo>
                    <a:pt x="231" y="2032"/>
                  </a:lnTo>
                  <a:lnTo>
                    <a:pt x="219" y="2028"/>
                  </a:lnTo>
                  <a:lnTo>
                    <a:pt x="207" y="2020"/>
                  </a:lnTo>
                  <a:lnTo>
                    <a:pt x="197" y="2012"/>
                  </a:lnTo>
                  <a:lnTo>
                    <a:pt x="187" y="2000"/>
                  </a:lnTo>
                  <a:lnTo>
                    <a:pt x="181" y="1989"/>
                  </a:lnTo>
                  <a:lnTo>
                    <a:pt x="177" y="1977"/>
                  </a:lnTo>
                  <a:lnTo>
                    <a:pt x="175" y="1965"/>
                  </a:lnTo>
                  <a:lnTo>
                    <a:pt x="175" y="1965"/>
                  </a:lnTo>
                  <a:lnTo>
                    <a:pt x="175" y="281"/>
                  </a:lnTo>
                  <a:lnTo>
                    <a:pt x="175" y="281"/>
                  </a:lnTo>
                  <a:lnTo>
                    <a:pt x="177" y="267"/>
                  </a:lnTo>
                  <a:lnTo>
                    <a:pt x="181" y="255"/>
                  </a:lnTo>
                  <a:lnTo>
                    <a:pt x="187" y="243"/>
                  </a:lnTo>
                  <a:lnTo>
                    <a:pt x="197" y="231"/>
                  </a:lnTo>
                  <a:lnTo>
                    <a:pt x="207" y="223"/>
                  </a:lnTo>
                  <a:lnTo>
                    <a:pt x="219" y="215"/>
                  </a:lnTo>
                  <a:lnTo>
                    <a:pt x="231" y="211"/>
                  </a:lnTo>
                  <a:lnTo>
                    <a:pt x="245" y="209"/>
                  </a:lnTo>
                  <a:lnTo>
                    <a:pt x="245" y="209"/>
                  </a:lnTo>
                  <a:lnTo>
                    <a:pt x="1476" y="209"/>
                  </a:lnTo>
                  <a:lnTo>
                    <a:pt x="1476" y="209"/>
                  </a:lnTo>
                  <a:lnTo>
                    <a:pt x="1488" y="211"/>
                  </a:lnTo>
                  <a:lnTo>
                    <a:pt x="1502" y="215"/>
                  </a:lnTo>
                  <a:lnTo>
                    <a:pt x="1512" y="223"/>
                  </a:lnTo>
                  <a:lnTo>
                    <a:pt x="1524" y="231"/>
                  </a:lnTo>
                  <a:lnTo>
                    <a:pt x="1532" y="243"/>
                  </a:lnTo>
                  <a:lnTo>
                    <a:pt x="1540" y="255"/>
                  </a:lnTo>
                  <a:lnTo>
                    <a:pt x="1544" y="267"/>
                  </a:lnTo>
                  <a:lnTo>
                    <a:pt x="1546" y="281"/>
                  </a:lnTo>
                  <a:lnTo>
                    <a:pt x="1546" y="1965"/>
                  </a:lnTo>
                  <a:close/>
                  <a:moveTo>
                    <a:pt x="1476" y="2419"/>
                  </a:moveTo>
                  <a:lnTo>
                    <a:pt x="1476" y="2419"/>
                  </a:lnTo>
                  <a:lnTo>
                    <a:pt x="1229" y="2419"/>
                  </a:lnTo>
                  <a:lnTo>
                    <a:pt x="1229" y="2419"/>
                  </a:lnTo>
                  <a:lnTo>
                    <a:pt x="1217" y="2419"/>
                  </a:lnTo>
                  <a:lnTo>
                    <a:pt x="1209" y="2415"/>
                  </a:lnTo>
                  <a:lnTo>
                    <a:pt x="1203" y="2409"/>
                  </a:lnTo>
                  <a:lnTo>
                    <a:pt x="1199" y="2403"/>
                  </a:lnTo>
                  <a:lnTo>
                    <a:pt x="1195" y="2391"/>
                  </a:lnTo>
                  <a:lnTo>
                    <a:pt x="1193" y="2385"/>
                  </a:lnTo>
                  <a:lnTo>
                    <a:pt x="1193" y="2385"/>
                  </a:lnTo>
                  <a:lnTo>
                    <a:pt x="1195" y="2359"/>
                  </a:lnTo>
                  <a:lnTo>
                    <a:pt x="1195" y="2347"/>
                  </a:lnTo>
                  <a:lnTo>
                    <a:pt x="1199" y="2337"/>
                  </a:lnTo>
                  <a:lnTo>
                    <a:pt x="1203" y="2327"/>
                  </a:lnTo>
                  <a:lnTo>
                    <a:pt x="1209" y="2321"/>
                  </a:lnTo>
                  <a:lnTo>
                    <a:pt x="1217" y="2315"/>
                  </a:lnTo>
                  <a:lnTo>
                    <a:pt x="1229" y="2315"/>
                  </a:lnTo>
                  <a:lnTo>
                    <a:pt x="1229" y="2315"/>
                  </a:lnTo>
                  <a:lnTo>
                    <a:pt x="1476" y="2315"/>
                  </a:lnTo>
                  <a:lnTo>
                    <a:pt x="1476" y="2315"/>
                  </a:lnTo>
                  <a:lnTo>
                    <a:pt x="1488" y="2315"/>
                  </a:lnTo>
                  <a:lnTo>
                    <a:pt x="1502" y="2321"/>
                  </a:lnTo>
                  <a:lnTo>
                    <a:pt x="1512" y="2327"/>
                  </a:lnTo>
                  <a:lnTo>
                    <a:pt x="1524" y="2337"/>
                  </a:lnTo>
                  <a:lnTo>
                    <a:pt x="1532" y="2347"/>
                  </a:lnTo>
                  <a:lnTo>
                    <a:pt x="1540" y="2359"/>
                  </a:lnTo>
                  <a:lnTo>
                    <a:pt x="1544" y="2371"/>
                  </a:lnTo>
                  <a:lnTo>
                    <a:pt x="1546" y="2385"/>
                  </a:lnTo>
                  <a:lnTo>
                    <a:pt x="1546" y="2385"/>
                  </a:lnTo>
                  <a:lnTo>
                    <a:pt x="1540" y="2391"/>
                  </a:lnTo>
                  <a:lnTo>
                    <a:pt x="1524" y="2403"/>
                  </a:lnTo>
                  <a:lnTo>
                    <a:pt x="1512" y="2409"/>
                  </a:lnTo>
                  <a:lnTo>
                    <a:pt x="1502" y="2415"/>
                  </a:lnTo>
                  <a:lnTo>
                    <a:pt x="1488" y="2419"/>
                  </a:lnTo>
                  <a:lnTo>
                    <a:pt x="1476" y="2419"/>
                  </a:lnTo>
                  <a:lnTo>
                    <a:pt x="1476" y="2419"/>
                  </a:lnTo>
                  <a:close/>
                  <a:moveTo>
                    <a:pt x="878" y="2525"/>
                  </a:moveTo>
                  <a:lnTo>
                    <a:pt x="878" y="2525"/>
                  </a:lnTo>
                  <a:lnTo>
                    <a:pt x="858" y="2525"/>
                  </a:lnTo>
                  <a:lnTo>
                    <a:pt x="840" y="2523"/>
                  </a:lnTo>
                  <a:lnTo>
                    <a:pt x="822" y="2519"/>
                  </a:lnTo>
                  <a:lnTo>
                    <a:pt x="806" y="2513"/>
                  </a:lnTo>
                  <a:lnTo>
                    <a:pt x="791" y="2507"/>
                  </a:lnTo>
                  <a:lnTo>
                    <a:pt x="775" y="2499"/>
                  </a:lnTo>
                  <a:lnTo>
                    <a:pt x="763" y="2491"/>
                  </a:lnTo>
                  <a:lnTo>
                    <a:pt x="751" y="2481"/>
                  </a:lnTo>
                  <a:lnTo>
                    <a:pt x="739" y="2471"/>
                  </a:lnTo>
                  <a:lnTo>
                    <a:pt x="729" y="2461"/>
                  </a:lnTo>
                  <a:lnTo>
                    <a:pt x="721" y="2449"/>
                  </a:lnTo>
                  <a:lnTo>
                    <a:pt x="715" y="2437"/>
                  </a:lnTo>
                  <a:lnTo>
                    <a:pt x="709" y="2423"/>
                  </a:lnTo>
                  <a:lnTo>
                    <a:pt x="705" y="2411"/>
                  </a:lnTo>
                  <a:lnTo>
                    <a:pt x="703" y="2397"/>
                  </a:lnTo>
                  <a:lnTo>
                    <a:pt x="701" y="2385"/>
                  </a:lnTo>
                  <a:lnTo>
                    <a:pt x="701" y="2385"/>
                  </a:lnTo>
                  <a:lnTo>
                    <a:pt x="703" y="2365"/>
                  </a:lnTo>
                  <a:lnTo>
                    <a:pt x="705" y="2347"/>
                  </a:lnTo>
                  <a:lnTo>
                    <a:pt x="709" y="2329"/>
                  </a:lnTo>
                  <a:lnTo>
                    <a:pt x="715" y="2313"/>
                  </a:lnTo>
                  <a:lnTo>
                    <a:pt x="721" y="2297"/>
                  </a:lnTo>
                  <a:lnTo>
                    <a:pt x="729" y="2283"/>
                  </a:lnTo>
                  <a:lnTo>
                    <a:pt x="739" y="2269"/>
                  </a:lnTo>
                  <a:lnTo>
                    <a:pt x="751" y="2258"/>
                  </a:lnTo>
                  <a:lnTo>
                    <a:pt x="763" y="2246"/>
                  </a:lnTo>
                  <a:lnTo>
                    <a:pt x="775" y="2238"/>
                  </a:lnTo>
                  <a:lnTo>
                    <a:pt x="791" y="2230"/>
                  </a:lnTo>
                  <a:lnTo>
                    <a:pt x="806" y="2222"/>
                  </a:lnTo>
                  <a:lnTo>
                    <a:pt x="822" y="2216"/>
                  </a:lnTo>
                  <a:lnTo>
                    <a:pt x="840" y="2212"/>
                  </a:lnTo>
                  <a:lnTo>
                    <a:pt x="858" y="2210"/>
                  </a:lnTo>
                  <a:lnTo>
                    <a:pt x="878" y="2210"/>
                  </a:lnTo>
                  <a:lnTo>
                    <a:pt x="878" y="2210"/>
                  </a:lnTo>
                  <a:lnTo>
                    <a:pt x="890" y="2210"/>
                  </a:lnTo>
                  <a:lnTo>
                    <a:pt x="904" y="2212"/>
                  </a:lnTo>
                  <a:lnTo>
                    <a:pt x="916" y="2216"/>
                  </a:lnTo>
                  <a:lnTo>
                    <a:pt x="930" y="2222"/>
                  </a:lnTo>
                  <a:lnTo>
                    <a:pt x="942" y="2230"/>
                  </a:lnTo>
                  <a:lnTo>
                    <a:pt x="952" y="2238"/>
                  </a:lnTo>
                  <a:lnTo>
                    <a:pt x="964" y="2246"/>
                  </a:lnTo>
                  <a:lnTo>
                    <a:pt x="974" y="2258"/>
                  </a:lnTo>
                  <a:lnTo>
                    <a:pt x="984" y="2269"/>
                  </a:lnTo>
                  <a:lnTo>
                    <a:pt x="992" y="2283"/>
                  </a:lnTo>
                  <a:lnTo>
                    <a:pt x="1000" y="2297"/>
                  </a:lnTo>
                  <a:lnTo>
                    <a:pt x="1006" y="2313"/>
                  </a:lnTo>
                  <a:lnTo>
                    <a:pt x="1012" y="2329"/>
                  </a:lnTo>
                  <a:lnTo>
                    <a:pt x="1016" y="2347"/>
                  </a:lnTo>
                  <a:lnTo>
                    <a:pt x="1018" y="2365"/>
                  </a:lnTo>
                  <a:lnTo>
                    <a:pt x="1018" y="2385"/>
                  </a:lnTo>
                  <a:lnTo>
                    <a:pt x="1018" y="2385"/>
                  </a:lnTo>
                  <a:lnTo>
                    <a:pt x="1018" y="2397"/>
                  </a:lnTo>
                  <a:lnTo>
                    <a:pt x="1016" y="2411"/>
                  </a:lnTo>
                  <a:lnTo>
                    <a:pt x="1012" y="2423"/>
                  </a:lnTo>
                  <a:lnTo>
                    <a:pt x="1006" y="2437"/>
                  </a:lnTo>
                  <a:lnTo>
                    <a:pt x="1000" y="2449"/>
                  </a:lnTo>
                  <a:lnTo>
                    <a:pt x="992" y="2461"/>
                  </a:lnTo>
                  <a:lnTo>
                    <a:pt x="974" y="2481"/>
                  </a:lnTo>
                  <a:lnTo>
                    <a:pt x="952" y="2499"/>
                  </a:lnTo>
                  <a:lnTo>
                    <a:pt x="942" y="2507"/>
                  </a:lnTo>
                  <a:lnTo>
                    <a:pt x="930" y="2513"/>
                  </a:lnTo>
                  <a:lnTo>
                    <a:pt x="916" y="2519"/>
                  </a:lnTo>
                  <a:lnTo>
                    <a:pt x="904" y="2523"/>
                  </a:lnTo>
                  <a:lnTo>
                    <a:pt x="890" y="2525"/>
                  </a:lnTo>
                  <a:lnTo>
                    <a:pt x="878" y="2525"/>
                  </a:lnTo>
                  <a:lnTo>
                    <a:pt x="878" y="2525"/>
                  </a:lnTo>
                  <a:close/>
                  <a:moveTo>
                    <a:pt x="492" y="2419"/>
                  </a:moveTo>
                  <a:lnTo>
                    <a:pt x="492" y="2419"/>
                  </a:lnTo>
                  <a:lnTo>
                    <a:pt x="245" y="2419"/>
                  </a:lnTo>
                  <a:lnTo>
                    <a:pt x="245" y="2419"/>
                  </a:lnTo>
                  <a:lnTo>
                    <a:pt x="233" y="2419"/>
                  </a:lnTo>
                  <a:lnTo>
                    <a:pt x="225" y="2415"/>
                  </a:lnTo>
                  <a:lnTo>
                    <a:pt x="219" y="2409"/>
                  </a:lnTo>
                  <a:lnTo>
                    <a:pt x="215" y="2403"/>
                  </a:lnTo>
                  <a:lnTo>
                    <a:pt x="211" y="2391"/>
                  </a:lnTo>
                  <a:lnTo>
                    <a:pt x="209" y="2385"/>
                  </a:lnTo>
                  <a:lnTo>
                    <a:pt x="209" y="2385"/>
                  </a:lnTo>
                  <a:lnTo>
                    <a:pt x="211" y="2359"/>
                  </a:lnTo>
                  <a:lnTo>
                    <a:pt x="211" y="2347"/>
                  </a:lnTo>
                  <a:lnTo>
                    <a:pt x="215" y="2337"/>
                  </a:lnTo>
                  <a:lnTo>
                    <a:pt x="219" y="2327"/>
                  </a:lnTo>
                  <a:lnTo>
                    <a:pt x="225" y="2321"/>
                  </a:lnTo>
                  <a:lnTo>
                    <a:pt x="233" y="2315"/>
                  </a:lnTo>
                  <a:lnTo>
                    <a:pt x="245" y="2315"/>
                  </a:lnTo>
                  <a:lnTo>
                    <a:pt x="245" y="2315"/>
                  </a:lnTo>
                  <a:lnTo>
                    <a:pt x="492" y="2315"/>
                  </a:lnTo>
                  <a:lnTo>
                    <a:pt x="492" y="2315"/>
                  </a:lnTo>
                  <a:lnTo>
                    <a:pt x="504" y="2315"/>
                  </a:lnTo>
                  <a:lnTo>
                    <a:pt x="518" y="2321"/>
                  </a:lnTo>
                  <a:lnTo>
                    <a:pt x="528" y="2327"/>
                  </a:lnTo>
                  <a:lnTo>
                    <a:pt x="539" y="2337"/>
                  </a:lnTo>
                  <a:lnTo>
                    <a:pt x="547" y="2347"/>
                  </a:lnTo>
                  <a:lnTo>
                    <a:pt x="555" y="2359"/>
                  </a:lnTo>
                  <a:lnTo>
                    <a:pt x="559" y="2371"/>
                  </a:lnTo>
                  <a:lnTo>
                    <a:pt x="561" y="2385"/>
                  </a:lnTo>
                  <a:lnTo>
                    <a:pt x="561" y="2385"/>
                  </a:lnTo>
                  <a:lnTo>
                    <a:pt x="555" y="2391"/>
                  </a:lnTo>
                  <a:lnTo>
                    <a:pt x="539" y="2403"/>
                  </a:lnTo>
                  <a:lnTo>
                    <a:pt x="528" y="2409"/>
                  </a:lnTo>
                  <a:lnTo>
                    <a:pt x="518" y="2415"/>
                  </a:lnTo>
                  <a:lnTo>
                    <a:pt x="504" y="2419"/>
                  </a:lnTo>
                  <a:lnTo>
                    <a:pt x="492" y="2419"/>
                  </a:lnTo>
                  <a:lnTo>
                    <a:pt x="492" y="2419"/>
                  </a:lnTo>
                  <a:close/>
                  <a:moveTo>
                    <a:pt x="1510" y="0"/>
                  </a:moveTo>
                  <a:lnTo>
                    <a:pt x="1510" y="0"/>
                  </a:lnTo>
                  <a:lnTo>
                    <a:pt x="245" y="0"/>
                  </a:lnTo>
                  <a:lnTo>
                    <a:pt x="245" y="0"/>
                  </a:lnTo>
                  <a:lnTo>
                    <a:pt x="219" y="0"/>
                  </a:lnTo>
                  <a:lnTo>
                    <a:pt x="195" y="4"/>
                  </a:lnTo>
                  <a:lnTo>
                    <a:pt x="169" y="10"/>
                  </a:lnTo>
                  <a:lnTo>
                    <a:pt x="147" y="18"/>
                  </a:lnTo>
                  <a:lnTo>
                    <a:pt x="125" y="28"/>
                  </a:lnTo>
                  <a:lnTo>
                    <a:pt x="105" y="40"/>
                  </a:lnTo>
                  <a:lnTo>
                    <a:pt x="87" y="54"/>
                  </a:lnTo>
                  <a:lnTo>
                    <a:pt x="69" y="70"/>
                  </a:lnTo>
                  <a:lnTo>
                    <a:pt x="53" y="88"/>
                  </a:lnTo>
                  <a:lnTo>
                    <a:pt x="39" y="105"/>
                  </a:lnTo>
                  <a:lnTo>
                    <a:pt x="27" y="125"/>
                  </a:lnTo>
                  <a:lnTo>
                    <a:pt x="17" y="147"/>
                  </a:lnTo>
                  <a:lnTo>
                    <a:pt x="9" y="169"/>
                  </a:lnTo>
                  <a:lnTo>
                    <a:pt x="3" y="193"/>
                  </a:lnTo>
                  <a:lnTo>
                    <a:pt x="0" y="219"/>
                  </a:lnTo>
                  <a:lnTo>
                    <a:pt x="0" y="245"/>
                  </a:lnTo>
                  <a:lnTo>
                    <a:pt x="0" y="245"/>
                  </a:lnTo>
                  <a:lnTo>
                    <a:pt x="0" y="2419"/>
                  </a:lnTo>
                  <a:lnTo>
                    <a:pt x="0" y="2419"/>
                  </a:lnTo>
                  <a:lnTo>
                    <a:pt x="0" y="2445"/>
                  </a:lnTo>
                  <a:lnTo>
                    <a:pt x="3" y="2471"/>
                  </a:lnTo>
                  <a:lnTo>
                    <a:pt x="9" y="2495"/>
                  </a:lnTo>
                  <a:lnTo>
                    <a:pt x="17" y="2517"/>
                  </a:lnTo>
                  <a:lnTo>
                    <a:pt x="27" y="2538"/>
                  </a:lnTo>
                  <a:lnTo>
                    <a:pt x="39" y="2558"/>
                  </a:lnTo>
                  <a:lnTo>
                    <a:pt x="53" y="2578"/>
                  </a:lnTo>
                  <a:lnTo>
                    <a:pt x="69" y="2594"/>
                  </a:lnTo>
                  <a:lnTo>
                    <a:pt x="87" y="2610"/>
                  </a:lnTo>
                  <a:lnTo>
                    <a:pt x="105" y="2624"/>
                  </a:lnTo>
                  <a:lnTo>
                    <a:pt x="125" y="2636"/>
                  </a:lnTo>
                  <a:lnTo>
                    <a:pt x="147" y="2646"/>
                  </a:lnTo>
                  <a:lnTo>
                    <a:pt x="169" y="2654"/>
                  </a:lnTo>
                  <a:lnTo>
                    <a:pt x="195" y="2660"/>
                  </a:lnTo>
                  <a:lnTo>
                    <a:pt x="219" y="2664"/>
                  </a:lnTo>
                  <a:lnTo>
                    <a:pt x="245" y="2666"/>
                  </a:lnTo>
                  <a:lnTo>
                    <a:pt x="245" y="2666"/>
                  </a:lnTo>
                  <a:lnTo>
                    <a:pt x="1510" y="2666"/>
                  </a:lnTo>
                  <a:lnTo>
                    <a:pt x="1510" y="2666"/>
                  </a:lnTo>
                  <a:lnTo>
                    <a:pt x="1530" y="2664"/>
                  </a:lnTo>
                  <a:lnTo>
                    <a:pt x="1550" y="2660"/>
                  </a:lnTo>
                  <a:lnTo>
                    <a:pt x="1570" y="2654"/>
                  </a:lnTo>
                  <a:lnTo>
                    <a:pt x="1588" y="2646"/>
                  </a:lnTo>
                  <a:lnTo>
                    <a:pt x="1605" y="2636"/>
                  </a:lnTo>
                  <a:lnTo>
                    <a:pt x="1623" y="2624"/>
                  </a:lnTo>
                  <a:lnTo>
                    <a:pt x="1639" y="2610"/>
                  </a:lnTo>
                  <a:lnTo>
                    <a:pt x="1655" y="2594"/>
                  </a:lnTo>
                  <a:lnTo>
                    <a:pt x="1669" y="2578"/>
                  </a:lnTo>
                  <a:lnTo>
                    <a:pt x="1681" y="2558"/>
                  </a:lnTo>
                  <a:lnTo>
                    <a:pt x="1693" y="2538"/>
                  </a:lnTo>
                  <a:lnTo>
                    <a:pt x="1703" y="2517"/>
                  </a:lnTo>
                  <a:lnTo>
                    <a:pt x="1711" y="2495"/>
                  </a:lnTo>
                  <a:lnTo>
                    <a:pt x="1717" y="2471"/>
                  </a:lnTo>
                  <a:lnTo>
                    <a:pt x="1719" y="2445"/>
                  </a:lnTo>
                  <a:lnTo>
                    <a:pt x="1721" y="2419"/>
                  </a:lnTo>
                  <a:lnTo>
                    <a:pt x="1721" y="2419"/>
                  </a:lnTo>
                  <a:lnTo>
                    <a:pt x="1721" y="245"/>
                  </a:lnTo>
                  <a:lnTo>
                    <a:pt x="1721" y="245"/>
                  </a:lnTo>
                  <a:lnTo>
                    <a:pt x="1719" y="219"/>
                  </a:lnTo>
                  <a:lnTo>
                    <a:pt x="1717" y="193"/>
                  </a:lnTo>
                  <a:lnTo>
                    <a:pt x="1711" y="169"/>
                  </a:lnTo>
                  <a:lnTo>
                    <a:pt x="1703" y="147"/>
                  </a:lnTo>
                  <a:lnTo>
                    <a:pt x="1693" y="125"/>
                  </a:lnTo>
                  <a:lnTo>
                    <a:pt x="1681" y="105"/>
                  </a:lnTo>
                  <a:lnTo>
                    <a:pt x="1669" y="88"/>
                  </a:lnTo>
                  <a:lnTo>
                    <a:pt x="1655" y="70"/>
                  </a:lnTo>
                  <a:lnTo>
                    <a:pt x="1639" y="54"/>
                  </a:lnTo>
                  <a:lnTo>
                    <a:pt x="1623" y="40"/>
                  </a:lnTo>
                  <a:lnTo>
                    <a:pt x="1605" y="28"/>
                  </a:lnTo>
                  <a:lnTo>
                    <a:pt x="1588" y="18"/>
                  </a:lnTo>
                  <a:lnTo>
                    <a:pt x="1570" y="10"/>
                  </a:lnTo>
                  <a:lnTo>
                    <a:pt x="1550" y="4"/>
                  </a:lnTo>
                  <a:lnTo>
                    <a:pt x="1530" y="0"/>
                  </a:lnTo>
                  <a:lnTo>
                    <a:pt x="1510" y="0"/>
                  </a:lnTo>
                  <a:lnTo>
                    <a:pt x="15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407" name="Freeform 217">
              <a:extLst>
                <a:ext uri="{FF2B5EF4-FFF2-40B4-BE49-F238E27FC236}">
                  <a16:creationId xmlns:a16="http://schemas.microsoft.com/office/drawing/2014/main" id="{4297C46E-727F-070F-A08C-55031EF80597}"/>
                </a:ext>
              </a:extLst>
            </p:cNvPr>
            <p:cNvSpPr>
              <a:spLocks noEditPoints="1"/>
            </p:cNvSpPr>
            <p:nvPr/>
          </p:nvSpPr>
          <p:spPr bwMode="auto">
            <a:xfrm>
              <a:off x="11004550" y="0"/>
              <a:ext cx="4968875" cy="6411913"/>
            </a:xfrm>
            <a:custGeom>
              <a:avLst/>
              <a:gdLst>
                <a:gd name="T0" fmla="*/ 1582 w 3130"/>
                <a:gd name="T1" fmla="*/ 3933 h 4039"/>
                <a:gd name="T2" fmla="*/ 1530 w 3130"/>
                <a:gd name="T3" fmla="*/ 3927 h 4039"/>
                <a:gd name="T4" fmla="*/ 1486 w 3130"/>
                <a:gd name="T5" fmla="*/ 3908 h 4039"/>
                <a:gd name="T6" fmla="*/ 1468 w 3130"/>
                <a:gd name="T7" fmla="*/ 3892 h 4039"/>
                <a:gd name="T8" fmla="*/ 1455 w 3130"/>
                <a:gd name="T9" fmla="*/ 3874 h 4039"/>
                <a:gd name="T10" fmla="*/ 1445 w 3130"/>
                <a:gd name="T11" fmla="*/ 3854 h 4039"/>
                <a:gd name="T12" fmla="*/ 1443 w 3130"/>
                <a:gd name="T13" fmla="*/ 3828 h 4039"/>
                <a:gd name="T14" fmla="*/ 1443 w 3130"/>
                <a:gd name="T15" fmla="*/ 3810 h 4039"/>
                <a:gd name="T16" fmla="*/ 1449 w 3130"/>
                <a:gd name="T17" fmla="*/ 3776 h 4039"/>
                <a:gd name="T18" fmla="*/ 1460 w 3130"/>
                <a:gd name="T19" fmla="*/ 3748 h 4039"/>
                <a:gd name="T20" fmla="*/ 1476 w 3130"/>
                <a:gd name="T21" fmla="*/ 3728 h 4039"/>
                <a:gd name="T22" fmla="*/ 1496 w 3130"/>
                <a:gd name="T23" fmla="*/ 3710 h 4039"/>
                <a:gd name="T24" fmla="*/ 1518 w 3130"/>
                <a:gd name="T25" fmla="*/ 3698 h 4039"/>
                <a:gd name="T26" fmla="*/ 1556 w 3130"/>
                <a:gd name="T27" fmla="*/ 3690 h 4039"/>
                <a:gd name="T28" fmla="*/ 1582 w 3130"/>
                <a:gd name="T29" fmla="*/ 3688 h 4039"/>
                <a:gd name="T30" fmla="*/ 1630 w 3130"/>
                <a:gd name="T31" fmla="*/ 3694 h 4039"/>
                <a:gd name="T32" fmla="*/ 1648 w 3130"/>
                <a:gd name="T33" fmla="*/ 3704 h 4039"/>
                <a:gd name="T34" fmla="*/ 1662 w 3130"/>
                <a:gd name="T35" fmla="*/ 3718 h 4039"/>
                <a:gd name="T36" fmla="*/ 1674 w 3130"/>
                <a:gd name="T37" fmla="*/ 3738 h 4039"/>
                <a:gd name="T38" fmla="*/ 1682 w 3130"/>
                <a:gd name="T39" fmla="*/ 3762 h 4039"/>
                <a:gd name="T40" fmla="*/ 1688 w 3130"/>
                <a:gd name="T41" fmla="*/ 3828 h 4039"/>
                <a:gd name="T42" fmla="*/ 1688 w 3130"/>
                <a:gd name="T43" fmla="*/ 3854 h 4039"/>
                <a:gd name="T44" fmla="*/ 1674 w 3130"/>
                <a:gd name="T45" fmla="*/ 3892 h 4039"/>
                <a:gd name="T46" fmla="*/ 1648 w 3130"/>
                <a:gd name="T47" fmla="*/ 3919 h 4039"/>
                <a:gd name="T48" fmla="*/ 1608 w 3130"/>
                <a:gd name="T49" fmla="*/ 3931 h 4039"/>
                <a:gd name="T50" fmla="*/ 1582 w 3130"/>
                <a:gd name="T51" fmla="*/ 3933 h 4039"/>
                <a:gd name="T52" fmla="*/ 211 w 3130"/>
                <a:gd name="T53" fmla="*/ 3583 h 4039"/>
                <a:gd name="T54" fmla="*/ 211 w 3130"/>
                <a:gd name="T55" fmla="*/ 281 h 4039"/>
                <a:gd name="T56" fmla="*/ 2919 w 3130"/>
                <a:gd name="T57" fmla="*/ 281 h 4039"/>
                <a:gd name="T58" fmla="*/ 2919 w 3130"/>
                <a:gd name="T59" fmla="*/ 1475 h 4039"/>
                <a:gd name="T60" fmla="*/ 3130 w 3130"/>
                <a:gd name="T61" fmla="*/ 1475 h 4039"/>
                <a:gd name="T62" fmla="*/ 3130 w 3130"/>
                <a:gd name="T63" fmla="*/ 351 h 4039"/>
                <a:gd name="T64" fmla="*/ 3124 w 3130"/>
                <a:gd name="T65" fmla="*/ 285 h 4039"/>
                <a:gd name="T66" fmla="*/ 3106 w 3130"/>
                <a:gd name="T67" fmla="*/ 221 h 4039"/>
                <a:gd name="T68" fmla="*/ 3076 w 3130"/>
                <a:gd name="T69" fmla="*/ 161 h 4039"/>
                <a:gd name="T70" fmla="*/ 3039 w 3130"/>
                <a:gd name="T71" fmla="*/ 110 h 4039"/>
                <a:gd name="T72" fmla="*/ 2991 w 3130"/>
                <a:gd name="T73" fmla="*/ 64 h 4039"/>
                <a:gd name="T74" fmla="*/ 2937 w 3130"/>
                <a:gd name="T75" fmla="*/ 30 h 4039"/>
                <a:gd name="T76" fmla="*/ 2877 w 3130"/>
                <a:gd name="T77" fmla="*/ 8 h 4039"/>
                <a:gd name="T78" fmla="*/ 2813 w 3130"/>
                <a:gd name="T79" fmla="*/ 0 h 4039"/>
                <a:gd name="T80" fmla="*/ 353 w 3130"/>
                <a:gd name="T81" fmla="*/ 0 h 4039"/>
                <a:gd name="T82" fmla="*/ 313 w 3130"/>
                <a:gd name="T83" fmla="*/ 2 h 4039"/>
                <a:gd name="T84" fmla="*/ 241 w 3130"/>
                <a:gd name="T85" fmla="*/ 16 h 4039"/>
                <a:gd name="T86" fmla="*/ 177 w 3130"/>
                <a:gd name="T87" fmla="*/ 46 h 4039"/>
                <a:gd name="T88" fmla="*/ 122 w 3130"/>
                <a:gd name="T89" fmla="*/ 86 h 4039"/>
                <a:gd name="T90" fmla="*/ 76 w 3130"/>
                <a:gd name="T91" fmla="*/ 135 h 4039"/>
                <a:gd name="T92" fmla="*/ 40 w 3130"/>
                <a:gd name="T93" fmla="*/ 191 h 4039"/>
                <a:gd name="T94" fmla="*/ 14 w 3130"/>
                <a:gd name="T95" fmla="*/ 253 h 4039"/>
                <a:gd name="T96" fmla="*/ 2 w 3130"/>
                <a:gd name="T97" fmla="*/ 317 h 4039"/>
                <a:gd name="T98" fmla="*/ 0 w 3130"/>
                <a:gd name="T99" fmla="*/ 351 h 4039"/>
                <a:gd name="T100" fmla="*/ 0 w 3130"/>
                <a:gd name="T101" fmla="*/ 3688 h 4039"/>
                <a:gd name="T102" fmla="*/ 6 w 3130"/>
                <a:gd name="T103" fmla="*/ 3764 h 4039"/>
                <a:gd name="T104" fmla="*/ 26 w 3130"/>
                <a:gd name="T105" fmla="*/ 3832 h 4039"/>
                <a:gd name="T106" fmla="*/ 56 w 3130"/>
                <a:gd name="T107" fmla="*/ 3892 h 4039"/>
                <a:gd name="T108" fmla="*/ 98 w 3130"/>
                <a:gd name="T109" fmla="*/ 3941 h 4039"/>
                <a:gd name="T110" fmla="*/ 147 w 3130"/>
                <a:gd name="T111" fmla="*/ 3983 h 4039"/>
                <a:gd name="T112" fmla="*/ 207 w 3130"/>
                <a:gd name="T113" fmla="*/ 4013 h 4039"/>
                <a:gd name="T114" fmla="*/ 277 w 3130"/>
                <a:gd name="T115" fmla="*/ 4033 h 4039"/>
                <a:gd name="T116" fmla="*/ 353 w 3130"/>
                <a:gd name="T117" fmla="*/ 4039 h 4039"/>
                <a:gd name="T118" fmla="*/ 2110 w 3130"/>
                <a:gd name="T119" fmla="*/ 4039 h 4039"/>
                <a:gd name="T120" fmla="*/ 2110 w 3130"/>
                <a:gd name="T121" fmla="*/ 3583 h 4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30" h="4039">
                  <a:moveTo>
                    <a:pt x="1582" y="3933"/>
                  </a:moveTo>
                  <a:lnTo>
                    <a:pt x="1582" y="3933"/>
                  </a:lnTo>
                  <a:lnTo>
                    <a:pt x="1556" y="3931"/>
                  </a:lnTo>
                  <a:lnTo>
                    <a:pt x="1530" y="3927"/>
                  </a:lnTo>
                  <a:lnTo>
                    <a:pt x="1508" y="3919"/>
                  </a:lnTo>
                  <a:lnTo>
                    <a:pt x="1486" y="3908"/>
                  </a:lnTo>
                  <a:lnTo>
                    <a:pt x="1476" y="3900"/>
                  </a:lnTo>
                  <a:lnTo>
                    <a:pt x="1468" y="3892"/>
                  </a:lnTo>
                  <a:lnTo>
                    <a:pt x="1460" y="3884"/>
                  </a:lnTo>
                  <a:lnTo>
                    <a:pt x="1455" y="3874"/>
                  </a:lnTo>
                  <a:lnTo>
                    <a:pt x="1449" y="3864"/>
                  </a:lnTo>
                  <a:lnTo>
                    <a:pt x="1445" y="3854"/>
                  </a:lnTo>
                  <a:lnTo>
                    <a:pt x="1443" y="3842"/>
                  </a:lnTo>
                  <a:lnTo>
                    <a:pt x="1443" y="3828"/>
                  </a:lnTo>
                  <a:lnTo>
                    <a:pt x="1443" y="3828"/>
                  </a:lnTo>
                  <a:lnTo>
                    <a:pt x="1443" y="3810"/>
                  </a:lnTo>
                  <a:lnTo>
                    <a:pt x="1445" y="3792"/>
                  </a:lnTo>
                  <a:lnTo>
                    <a:pt x="1449" y="3776"/>
                  </a:lnTo>
                  <a:lnTo>
                    <a:pt x="1455" y="3762"/>
                  </a:lnTo>
                  <a:lnTo>
                    <a:pt x="1460" y="3748"/>
                  </a:lnTo>
                  <a:lnTo>
                    <a:pt x="1468" y="3738"/>
                  </a:lnTo>
                  <a:lnTo>
                    <a:pt x="1476" y="3728"/>
                  </a:lnTo>
                  <a:lnTo>
                    <a:pt x="1486" y="3718"/>
                  </a:lnTo>
                  <a:lnTo>
                    <a:pt x="1496" y="3710"/>
                  </a:lnTo>
                  <a:lnTo>
                    <a:pt x="1508" y="3704"/>
                  </a:lnTo>
                  <a:lnTo>
                    <a:pt x="1518" y="3698"/>
                  </a:lnTo>
                  <a:lnTo>
                    <a:pt x="1530" y="3694"/>
                  </a:lnTo>
                  <a:lnTo>
                    <a:pt x="1556" y="3690"/>
                  </a:lnTo>
                  <a:lnTo>
                    <a:pt x="1582" y="3688"/>
                  </a:lnTo>
                  <a:lnTo>
                    <a:pt x="1582" y="3688"/>
                  </a:lnTo>
                  <a:lnTo>
                    <a:pt x="1608" y="3690"/>
                  </a:lnTo>
                  <a:lnTo>
                    <a:pt x="1630" y="3694"/>
                  </a:lnTo>
                  <a:lnTo>
                    <a:pt x="1638" y="3698"/>
                  </a:lnTo>
                  <a:lnTo>
                    <a:pt x="1648" y="3704"/>
                  </a:lnTo>
                  <a:lnTo>
                    <a:pt x="1656" y="3710"/>
                  </a:lnTo>
                  <a:lnTo>
                    <a:pt x="1662" y="3718"/>
                  </a:lnTo>
                  <a:lnTo>
                    <a:pt x="1668" y="3728"/>
                  </a:lnTo>
                  <a:lnTo>
                    <a:pt x="1674" y="3738"/>
                  </a:lnTo>
                  <a:lnTo>
                    <a:pt x="1678" y="3748"/>
                  </a:lnTo>
                  <a:lnTo>
                    <a:pt x="1682" y="3762"/>
                  </a:lnTo>
                  <a:lnTo>
                    <a:pt x="1688" y="3792"/>
                  </a:lnTo>
                  <a:lnTo>
                    <a:pt x="1688" y="3828"/>
                  </a:lnTo>
                  <a:lnTo>
                    <a:pt x="1688" y="3828"/>
                  </a:lnTo>
                  <a:lnTo>
                    <a:pt x="1688" y="3854"/>
                  </a:lnTo>
                  <a:lnTo>
                    <a:pt x="1682" y="3874"/>
                  </a:lnTo>
                  <a:lnTo>
                    <a:pt x="1674" y="3892"/>
                  </a:lnTo>
                  <a:lnTo>
                    <a:pt x="1662" y="3908"/>
                  </a:lnTo>
                  <a:lnTo>
                    <a:pt x="1648" y="3919"/>
                  </a:lnTo>
                  <a:lnTo>
                    <a:pt x="1630" y="3927"/>
                  </a:lnTo>
                  <a:lnTo>
                    <a:pt x="1608" y="3931"/>
                  </a:lnTo>
                  <a:lnTo>
                    <a:pt x="1582" y="3933"/>
                  </a:lnTo>
                  <a:lnTo>
                    <a:pt x="1582" y="3933"/>
                  </a:lnTo>
                  <a:close/>
                  <a:moveTo>
                    <a:pt x="211" y="3583"/>
                  </a:moveTo>
                  <a:lnTo>
                    <a:pt x="211" y="3583"/>
                  </a:lnTo>
                  <a:lnTo>
                    <a:pt x="211" y="281"/>
                  </a:lnTo>
                  <a:lnTo>
                    <a:pt x="211" y="281"/>
                  </a:lnTo>
                  <a:lnTo>
                    <a:pt x="2919" y="281"/>
                  </a:lnTo>
                  <a:lnTo>
                    <a:pt x="2919" y="281"/>
                  </a:lnTo>
                  <a:lnTo>
                    <a:pt x="2919" y="1475"/>
                  </a:lnTo>
                  <a:lnTo>
                    <a:pt x="2919" y="1475"/>
                  </a:lnTo>
                  <a:lnTo>
                    <a:pt x="3130" y="1475"/>
                  </a:lnTo>
                  <a:lnTo>
                    <a:pt x="3130" y="1475"/>
                  </a:lnTo>
                  <a:lnTo>
                    <a:pt x="3130" y="351"/>
                  </a:lnTo>
                  <a:lnTo>
                    <a:pt x="3130" y="351"/>
                  </a:lnTo>
                  <a:lnTo>
                    <a:pt x="3128" y="317"/>
                  </a:lnTo>
                  <a:lnTo>
                    <a:pt x="3124" y="285"/>
                  </a:lnTo>
                  <a:lnTo>
                    <a:pt x="3116" y="253"/>
                  </a:lnTo>
                  <a:lnTo>
                    <a:pt x="3106" y="221"/>
                  </a:lnTo>
                  <a:lnTo>
                    <a:pt x="3092" y="191"/>
                  </a:lnTo>
                  <a:lnTo>
                    <a:pt x="3076" y="161"/>
                  </a:lnTo>
                  <a:lnTo>
                    <a:pt x="3058" y="135"/>
                  </a:lnTo>
                  <a:lnTo>
                    <a:pt x="3039" y="110"/>
                  </a:lnTo>
                  <a:lnTo>
                    <a:pt x="3017" y="86"/>
                  </a:lnTo>
                  <a:lnTo>
                    <a:pt x="2991" y="64"/>
                  </a:lnTo>
                  <a:lnTo>
                    <a:pt x="2965" y="46"/>
                  </a:lnTo>
                  <a:lnTo>
                    <a:pt x="2937" y="30"/>
                  </a:lnTo>
                  <a:lnTo>
                    <a:pt x="2909" y="16"/>
                  </a:lnTo>
                  <a:lnTo>
                    <a:pt x="2877" y="8"/>
                  </a:lnTo>
                  <a:lnTo>
                    <a:pt x="2847" y="2"/>
                  </a:lnTo>
                  <a:lnTo>
                    <a:pt x="2813" y="0"/>
                  </a:lnTo>
                  <a:lnTo>
                    <a:pt x="2813" y="0"/>
                  </a:lnTo>
                  <a:lnTo>
                    <a:pt x="353" y="0"/>
                  </a:lnTo>
                  <a:lnTo>
                    <a:pt x="353" y="0"/>
                  </a:lnTo>
                  <a:lnTo>
                    <a:pt x="313" y="2"/>
                  </a:lnTo>
                  <a:lnTo>
                    <a:pt x="277" y="8"/>
                  </a:lnTo>
                  <a:lnTo>
                    <a:pt x="241" y="16"/>
                  </a:lnTo>
                  <a:lnTo>
                    <a:pt x="207" y="30"/>
                  </a:lnTo>
                  <a:lnTo>
                    <a:pt x="177" y="46"/>
                  </a:lnTo>
                  <a:lnTo>
                    <a:pt x="147" y="64"/>
                  </a:lnTo>
                  <a:lnTo>
                    <a:pt x="122" y="86"/>
                  </a:lnTo>
                  <a:lnTo>
                    <a:pt x="98" y="110"/>
                  </a:lnTo>
                  <a:lnTo>
                    <a:pt x="76" y="135"/>
                  </a:lnTo>
                  <a:lnTo>
                    <a:pt x="56" y="161"/>
                  </a:lnTo>
                  <a:lnTo>
                    <a:pt x="40" y="191"/>
                  </a:lnTo>
                  <a:lnTo>
                    <a:pt x="26" y="221"/>
                  </a:lnTo>
                  <a:lnTo>
                    <a:pt x="14" y="253"/>
                  </a:lnTo>
                  <a:lnTo>
                    <a:pt x="6" y="285"/>
                  </a:lnTo>
                  <a:lnTo>
                    <a:pt x="2" y="317"/>
                  </a:lnTo>
                  <a:lnTo>
                    <a:pt x="0" y="351"/>
                  </a:lnTo>
                  <a:lnTo>
                    <a:pt x="0" y="351"/>
                  </a:lnTo>
                  <a:lnTo>
                    <a:pt x="0" y="3688"/>
                  </a:lnTo>
                  <a:lnTo>
                    <a:pt x="0" y="3688"/>
                  </a:lnTo>
                  <a:lnTo>
                    <a:pt x="2" y="3726"/>
                  </a:lnTo>
                  <a:lnTo>
                    <a:pt x="6" y="3764"/>
                  </a:lnTo>
                  <a:lnTo>
                    <a:pt x="14" y="3798"/>
                  </a:lnTo>
                  <a:lnTo>
                    <a:pt x="26" y="3832"/>
                  </a:lnTo>
                  <a:lnTo>
                    <a:pt x="40" y="3862"/>
                  </a:lnTo>
                  <a:lnTo>
                    <a:pt x="56" y="3892"/>
                  </a:lnTo>
                  <a:lnTo>
                    <a:pt x="76" y="3917"/>
                  </a:lnTo>
                  <a:lnTo>
                    <a:pt x="98" y="3941"/>
                  </a:lnTo>
                  <a:lnTo>
                    <a:pt x="122" y="3963"/>
                  </a:lnTo>
                  <a:lnTo>
                    <a:pt x="147" y="3983"/>
                  </a:lnTo>
                  <a:lnTo>
                    <a:pt x="177" y="3999"/>
                  </a:lnTo>
                  <a:lnTo>
                    <a:pt x="207" y="4013"/>
                  </a:lnTo>
                  <a:lnTo>
                    <a:pt x="241" y="4025"/>
                  </a:lnTo>
                  <a:lnTo>
                    <a:pt x="277" y="4033"/>
                  </a:lnTo>
                  <a:lnTo>
                    <a:pt x="313" y="4037"/>
                  </a:lnTo>
                  <a:lnTo>
                    <a:pt x="353" y="4039"/>
                  </a:lnTo>
                  <a:lnTo>
                    <a:pt x="353" y="4039"/>
                  </a:lnTo>
                  <a:lnTo>
                    <a:pt x="2110" y="4039"/>
                  </a:lnTo>
                  <a:lnTo>
                    <a:pt x="2110" y="4039"/>
                  </a:lnTo>
                  <a:lnTo>
                    <a:pt x="2110" y="3583"/>
                  </a:lnTo>
                  <a:lnTo>
                    <a:pt x="211" y="35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408" name="Freeform 218">
              <a:extLst>
                <a:ext uri="{FF2B5EF4-FFF2-40B4-BE49-F238E27FC236}">
                  <a16:creationId xmlns:a16="http://schemas.microsoft.com/office/drawing/2014/main" id="{ABDCD599-B7C1-BBBC-D04C-5E6043F0A49D}"/>
                </a:ext>
              </a:extLst>
            </p:cNvPr>
            <p:cNvSpPr>
              <a:spLocks noEditPoints="1"/>
            </p:cNvSpPr>
            <p:nvPr/>
          </p:nvSpPr>
          <p:spPr bwMode="auto">
            <a:xfrm>
              <a:off x="15008225" y="3559175"/>
              <a:ext cx="1857375" cy="1654175"/>
            </a:xfrm>
            <a:custGeom>
              <a:avLst/>
              <a:gdLst>
                <a:gd name="T0" fmla="*/ 1146 w 1170"/>
                <a:gd name="T1" fmla="*/ 874 h 1042"/>
                <a:gd name="T2" fmla="*/ 682 w 1170"/>
                <a:gd name="T3" fmla="*/ 69 h 1042"/>
                <a:gd name="T4" fmla="*/ 660 w 1170"/>
                <a:gd name="T5" fmla="*/ 40 h 1042"/>
                <a:gd name="T6" fmla="*/ 636 w 1170"/>
                <a:gd name="T7" fmla="*/ 18 h 1042"/>
                <a:gd name="T8" fmla="*/ 612 w 1170"/>
                <a:gd name="T9" fmla="*/ 6 h 1042"/>
                <a:gd name="T10" fmla="*/ 586 w 1170"/>
                <a:gd name="T11" fmla="*/ 0 h 1042"/>
                <a:gd name="T12" fmla="*/ 558 w 1170"/>
                <a:gd name="T13" fmla="*/ 6 h 1042"/>
                <a:gd name="T14" fmla="*/ 534 w 1170"/>
                <a:gd name="T15" fmla="*/ 18 h 1042"/>
                <a:gd name="T16" fmla="*/ 511 w 1170"/>
                <a:gd name="T17" fmla="*/ 40 h 1042"/>
                <a:gd name="T18" fmla="*/ 489 w 1170"/>
                <a:gd name="T19" fmla="*/ 69 h 1042"/>
                <a:gd name="T20" fmla="*/ 24 w 1170"/>
                <a:gd name="T21" fmla="*/ 874 h 1042"/>
                <a:gd name="T22" fmla="*/ 8 w 1170"/>
                <a:gd name="T23" fmla="*/ 908 h 1042"/>
                <a:gd name="T24" fmla="*/ 2 w 1170"/>
                <a:gd name="T25" fmla="*/ 940 h 1042"/>
                <a:gd name="T26" fmla="*/ 2 w 1170"/>
                <a:gd name="T27" fmla="*/ 968 h 1042"/>
                <a:gd name="T28" fmla="*/ 12 w 1170"/>
                <a:gd name="T29" fmla="*/ 994 h 1042"/>
                <a:gd name="T30" fmla="*/ 28 w 1170"/>
                <a:gd name="T31" fmla="*/ 1014 h 1042"/>
                <a:gd name="T32" fmla="*/ 52 w 1170"/>
                <a:gd name="T33" fmla="*/ 1030 h 1042"/>
                <a:gd name="T34" fmla="*/ 84 w 1170"/>
                <a:gd name="T35" fmla="*/ 1038 h 1042"/>
                <a:gd name="T36" fmla="*/ 120 w 1170"/>
                <a:gd name="T37" fmla="*/ 1042 h 1042"/>
                <a:gd name="T38" fmla="*/ 1051 w 1170"/>
                <a:gd name="T39" fmla="*/ 1042 h 1042"/>
                <a:gd name="T40" fmla="*/ 1088 w 1170"/>
                <a:gd name="T41" fmla="*/ 1038 h 1042"/>
                <a:gd name="T42" fmla="*/ 1118 w 1170"/>
                <a:gd name="T43" fmla="*/ 1030 h 1042"/>
                <a:gd name="T44" fmla="*/ 1142 w 1170"/>
                <a:gd name="T45" fmla="*/ 1014 h 1042"/>
                <a:gd name="T46" fmla="*/ 1158 w 1170"/>
                <a:gd name="T47" fmla="*/ 994 h 1042"/>
                <a:gd name="T48" fmla="*/ 1168 w 1170"/>
                <a:gd name="T49" fmla="*/ 968 h 1042"/>
                <a:gd name="T50" fmla="*/ 1170 w 1170"/>
                <a:gd name="T51" fmla="*/ 940 h 1042"/>
                <a:gd name="T52" fmla="*/ 1162 w 1170"/>
                <a:gd name="T53" fmla="*/ 908 h 1042"/>
                <a:gd name="T54" fmla="*/ 1146 w 1170"/>
                <a:gd name="T55" fmla="*/ 874 h 1042"/>
                <a:gd name="T56" fmla="*/ 644 w 1170"/>
                <a:gd name="T57" fmla="*/ 888 h 1042"/>
                <a:gd name="T58" fmla="*/ 526 w 1170"/>
                <a:gd name="T59" fmla="*/ 888 h 1042"/>
                <a:gd name="T60" fmla="*/ 644 w 1170"/>
                <a:gd name="T61" fmla="*/ 783 h 1042"/>
                <a:gd name="T62" fmla="*/ 634 w 1170"/>
                <a:gd name="T63" fmla="*/ 719 h 1042"/>
                <a:gd name="T64" fmla="*/ 538 w 1170"/>
                <a:gd name="T65" fmla="*/ 719 h 1042"/>
                <a:gd name="T66" fmla="*/ 654 w 1170"/>
                <a:gd name="T67" fmla="*/ 297 h 10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70" h="1042">
                  <a:moveTo>
                    <a:pt x="1146" y="874"/>
                  </a:moveTo>
                  <a:lnTo>
                    <a:pt x="1146" y="874"/>
                  </a:lnTo>
                  <a:lnTo>
                    <a:pt x="682" y="69"/>
                  </a:lnTo>
                  <a:lnTo>
                    <a:pt x="682" y="69"/>
                  </a:lnTo>
                  <a:lnTo>
                    <a:pt x="672" y="53"/>
                  </a:lnTo>
                  <a:lnTo>
                    <a:pt x="660" y="40"/>
                  </a:lnTo>
                  <a:lnTo>
                    <a:pt x="650" y="28"/>
                  </a:lnTo>
                  <a:lnTo>
                    <a:pt x="636" y="18"/>
                  </a:lnTo>
                  <a:lnTo>
                    <a:pt x="624" y="10"/>
                  </a:lnTo>
                  <a:lnTo>
                    <a:pt x="612" y="6"/>
                  </a:lnTo>
                  <a:lnTo>
                    <a:pt x="598" y="2"/>
                  </a:lnTo>
                  <a:lnTo>
                    <a:pt x="586" y="0"/>
                  </a:lnTo>
                  <a:lnTo>
                    <a:pt x="572" y="2"/>
                  </a:lnTo>
                  <a:lnTo>
                    <a:pt x="558" y="6"/>
                  </a:lnTo>
                  <a:lnTo>
                    <a:pt x="546" y="10"/>
                  </a:lnTo>
                  <a:lnTo>
                    <a:pt x="534" y="18"/>
                  </a:lnTo>
                  <a:lnTo>
                    <a:pt x="522" y="28"/>
                  </a:lnTo>
                  <a:lnTo>
                    <a:pt x="511" y="40"/>
                  </a:lnTo>
                  <a:lnTo>
                    <a:pt x="499" y="53"/>
                  </a:lnTo>
                  <a:lnTo>
                    <a:pt x="489" y="69"/>
                  </a:lnTo>
                  <a:lnTo>
                    <a:pt x="24" y="874"/>
                  </a:lnTo>
                  <a:lnTo>
                    <a:pt x="24" y="874"/>
                  </a:lnTo>
                  <a:lnTo>
                    <a:pt x="14" y="892"/>
                  </a:lnTo>
                  <a:lnTo>
                    <a:pt x="8" y="908"/>
                  </a:lnTo>
                  <a:lnTo>
                    <a:pt x="4" y="924"/>
                  </a:lnTo>
                  <a:lnTo>
                    <a:pt x="2" y="940"/>
                  </a:lnTo>
                  <a:lnTo>
                    <a:pt x="0" y="954"/>
                  </a:lnTo>
                  <a:lnTo>
                    <a:pt x="2" y="968"/>
                  </a:lnTo>
                  <a:lnTo>
                    <a:pt x="6" y="982"/>
                  </a:lnTo>
                  <a:lnTo>
                    <a:pt x="12" y="994"/>
                  </a:lnTo>
                  <a:lnTo>
                    <a:pt x="20" y="1004"/>
                  </a:lnTo>
                  <a:lnTo>
                    <a:pt x="28" y="1014"/>
                  </a:lnTo>
                  <a:lnTo>
                    <a:pt x="40" y="1022"/>
                  </a:lnTo>
                  <a:lnTo>
                    <a:pt x="52" y="1030"/>
                  </a:lnTo>
                  <a:lnTo>
                    <a:pt x="68" y="1034"/>
                  </a:lnTo>
                  <a:lnTo>
                    <a:pt x="84" y="1038"/>
                  </a:lnTo>
                  <a:lnTo>
                    <a:pt x="100" y="1042"/>
                  </a:lnTo>
                  <a:lnTo>
                    <a:pt x="120" y="1042"/>
                  </a:lnTo>
                  <a:lnTo>
                    <a:pt x="1051" y="1042"/>
                  </a:lnTo>
                  <a:lnTo>
                    <a:pt x="1051" y="1042"/>
                  </a:lnTo>
                  <a:lnTo>
                    <a:pt x="1070" y="1042"/>
                  </a:lnTo>
                  <a:lnTo>
                    <a:pt x="1088" y="1038"/>
                  </a:lnTo>
                  <a:lnTo>
                    <a:pt x="1104" y="1034"/>
                  </a:lnTo>
                  <a:lnTo>
                    <a:pt x="1118" y="1030"/>
                  </a:lnTo>
                  <a:lnTo>
                    <a:pt x="1130" y="1022"/>
                  </a:lnTo>
                  <a:lnTo>
                    <a:pt x="1142" y="1014"/>
                  </a:lnTo>
                  <a:lnTo>
                    <a:pt x="1152" y="1004"/>
                  </a:lnTo>
                  <a:lnTo>
                    <a:pt x="1158" y="994"/>
                  </a:lnTo>
                  <a:lnTo>
                    <a:pt x="1164" y="982"/>
                  </a:lnTo>
                  <a:lnTo>
                    <a:pt x="1168" y="968"/>
                  </a:lnTo>
                  <a:lnTo>
                    <a:pt x="1170" y="954"/>
                  </a:lnTo>
                  <a:lnTo>
                    <a:pt x="1170" y="940"/>
                  </a:lnTo>
                  <a:lnTo>
                    <a:pt x="1168" y="924"/>
                  </a:lnTo>
                  <a:lnTo>
                    <a:pt x="1162" y="908"/>
                  </a:lnTo>
                  <a:lnTo>
                    <a:pt x="1156" y="892"/>
                  </a:lnTo>
                  <a:lnTo>
                    <a:pt x="1146" y="874"/>
                  </a:lnTo>
                  <a:lnTo>
                    <a:pt x="1146" y="874"/>
                  </a:lnTo>
                  <a:close/>
                  <a:moveTo>
                    <a:pt x="644" y="888"/>
                  </a:moveTo>
                  <a:lnTo>
                    <a:pt x="644" y="888"/>
                  </a:lnTo>
                  <a:lnTo>
                    <a:pt x="526" y="888"/>
                  </a:lnTo>
                  <a:lnTo>
                    <a:pt x="526" y="783"/>
                  </a:lnTo>
                  <a:lnTo>
                    <a:pt x="644" y="783"/>
                  </a:lnTo>
                  <a:lnTo>
                    <a:pt x="644" y="888"/>
                  </a:lnTo>
                  <a:close/>
                  <a:moveTo>
                    <a:pt x="634" y="719"/>
                  </a:moveTo>
                  <a:lnTo>
                    <a:pt x="634" y="719"/>
                  </a:lnTo>
                  <a:lnTo>
                    <a:pt x="538" y="719"/>
                  </a:lnTo>
                  <a:lnTo>
                    <a:pt x="517" y="297"/>
                  </a:lnTo>
                  <a:lnTo>
                    <a:pt x="654" y="297"/>
                  </a:lnTo>
                  <a:lnTo>
                    <a:pt x="634" y="7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sp>
          <p:nvSpPr>
            <p:cNvPr id="409" name="Freeform 219">
              <a:extLst>
                <a:ext uri="{FF2B5EF4-FFF2-40B4-BE49-F238E27FC236}">
                  <a16:creationId xmlns:a16="http://schemas.microsoft.com/office/drawing/2014/main" id="{44DD08A3-868B-9E6A-3004-E2B2E6E1E34F}"/>
                </a:ext>
              </a:extLst>
            </p:cNvPr>
            <p:cNvSpPr>
              <a:spLocks noEditPoints="1"/>
            </p:cNvSpPr>
            <p:nvPr/>
          </p:nvSpPr>
          <p:spPr bwMode="auto">
            <a:xfrm>
              <a:off x="11785600" y="1530350"/>
              <a:ext cx="2695575" cy="2851150"/>
            </a:xfrm>
            <a:custGeom>
              <a:avLst/>
              <a:gdLst>
                <a:gd name="T0" fmla="*/ 1698 w 1698"/>
                <a:gd name="T1" fmla="*/ 1027 h 1796"/>
                <a:gd name="T2" fmla="*/ 1176 w 1698"/>
                <a:gd name="T3" fmla="*/ 120 h 1796"/>
                <a:gd name="T4" fmla="*/ 1176 w 1698"/>
                <a:gd name="T5" fmla="*/ 120 h 1796"/>
                <a:gd name="T6" fmla="*/ 1158 w 1698"/>
                <a:gd name="T7" fmla="*/ 92 h 1796"/>
                <a:gd name="T8" fmla="*/ 1138 w 1698"/>
                <a:gd name="T9" fmla="*/ 68 h 1796"/>
                <a:gd name="T10" fmla="*/ 1118 w 1698"/>
                <a:gd name="T11" fmla="*/ 46 h 1796"/>
                <a:gd name="T12" fmla="*/ 1096 w 1698"/>
                <a:gd name="T13" fmla="*/ 30 h 1796"/>
                <a:gd name="T14" fmla="*/ 1076 w 1698"/>
                <a:gd name="T15" fmla="*/ 16 h 1796"/>
                <a:gd name="T16" fmla="*/ 1052 w 1698"/>
                <a:gd name="T17" fmla="*/ 6 h 1796"/>
                <a:gd name="T18" fmla="*/ 1030 w 1698"/>
                <a:gd name="T19" fmla="*/ 2 h 1796"/>
                <a:gd name="T20" fmla="*/ 1008 w 1698"/>
                <a:gd name="T21" fmla="*/ 0 h 1796"/>
                <a:gd name="T22" fmla="*/ 984 w 1698"/>
                <a:gd name="T23" fmla="*/ 2 h 1796"/>
                <a:gd name="T24" fmla="*/ 963 w 1698"/>
                <a:gd name="T25" fmla="*/ 6 h 1796"/>
                <a:gd name="T26" fmla="*/ 941 w 1698"/>
                <a:gd name="T27" fmla="*/ 16 h 1796"/>
                <a:gd name="T28" fmla="*/ 919 w 1698"/>
                <a:gd name="T29" fmla="*/ 30 h 1796"/>
                <a:gd name="T30" fmla="*/ 899 w 1698"/>
                <a:gd name="T31" fmla="*/ 46 h 1796"/>
                <a:gd name="T32" fmla="*/ 879 w 1698"/>
                <a:gd name="T33" fmla="*/ 68 h 1796"/>
                <a:gd name="T34" fmla="*/ 859 w 1698"/>
                <a:gd name="T35" fmla="*/ 92 h 1796"/>
                <a:gd name="T36" fmla="*/ 841 w 1698"/>
                <a:gd name="T37" fmla="*/ 120 h 1796"/>
                <a:gd name="T38" fmla="*/ 40 w 1698"/>
                <a:gd name="T39" fmla="*/ 1509 h 1796"/>
                <a:gd name="T40" fmla="*/ 40 w 1698"/>
                <a:gd name="T41" fmla="*/ 1509 h 1796"/>
                <a:gd name="T42" fmla="*/ 24 w 1698"/>
                <a:gd name="T43" fmla="*/ 1539 h 1796"/>
                <a:gd name="T44" fmla="*/ 12 w 1698"/>
                <a:gd name="T45" fmla="*/ 1567 h 1796"/>
                <a:gd name="T46" fmla="*/ 4 w 1698"/>
                <a:gd name="T47" fmla="*/ 1595 h 1796"/>
                <a:gd name="T48" fmla="*/ 0 w 1698"/>
                <a:gd name="T49" fmla="*/ 1620 h 1796"/>
                <a:gd name="T50" fmla="*/ 0 w 1698"/>
                <a:gd name="T51" fmla="*/ 1646 h 1796"/>
                <a:gd name="T52" fmla="*/ 2 w 1698"/>
                <a:gd name="T53" fmla="*/ 1670 h 1796"/>
                <a:gd name="T54" fmla="*/ 10 w 1698"/>
                <a:gd name="T55" fmla="*/ 1692 h 1796"/>
                <a:gd name="T56" fmla="*/ 20 w 1698"/>
                <a:gd name="T57" fmla="*/ 1712 h 1796"/>
                <a:gd name="T58" fmla="*/ 32 w 1698"/>
                <a:gd name="T59" fmla="*/ 1730 h 1796"/>
                <a:gd name="T60" fmla="*/ 48 w 1698"/>
                <a:gd name="T61" fmla="*/ 1748 h 1796"/>
                <a:gd name="T62" fmla="*/ 68 w 1698"/>
                <a:gd name="T63" fmla="*/ 1762 h 1796"/>
                <a:gd name="T64" fmla="*/ 90 w 1698"/>
                <a:gd name="T65" fmla="*/ 1774 h 1796"/>
                <a:gd name="T66" fmla="*/ 114 w 1698"/>
                <a:gd name="T67" fmla="*/ 1784 h 1796"/>
                <a:gd name="T68" fmla="*/ 142 w 1698"/>
                <a:gd name="T69" fmla="*/ 1790 h 1796"/>
                <a:gd name="T70" fmla="*/ 171 w 1698"/>
                <a:gd name="T71" fmla="*/ 1796 h 1796"/>
                <a:gd name="T72" fmla="*/ 205 w 1698"/>
                <a:gd name="T73" fmla="*/ 1796 h 1796"/>
                <a:gd name="T74" fmla="*/ 1698 w 1698"/>
                <a:gd name="T75" fmla="*/ 1796 h 1796"/>
                <a:gd name="T76" fmla="*/ 1698 w 1698"/>
                <a:gd name="T77" fmla="*/ 1027 h 1796"/>
                <a:gd name="T78" fmla="*/ 1110 w 1698"/>
                <a:gd name="T79" fmla="*/ 1533 h 1796"/>
                <a:gd name="T80" fmla="*/ 1110 w 1698"/>
                <a:gd name="T81" fmla="*/ 1533 h 1796"/>
                <a:gd name="T82" fmla="*/ 907 w 1698"/>
                <a:gd name="T83" fmla="*/ 1533 h 1796"/>
                <a:gd name="T84" fmla="*/ 907 w 1698"/>
                <a:gd name="T85" fmla="*/ 1347 h 1796"/>
                <a:gd name="T86" fmla="*/ 1110 w 1698"/>
                <a:gd name="T87" fmla="*/ 1347 h 1796"/>
                <a:gd name="T88" fmla="*/ 1110 w 1698"/>
                <a:gd name="T89" fmla="*/ 1533 h 1796"/>
                <a:gd name="T90" fmla="*/ 1090 w 1698"/>
                <a:gd name="T91" fmla="*/ 1240 h 1796"/>
                <a:gd name="T92" fmla="*/ 1090 w 1698"/>
                <a:gd name="T93" fmla="*/ 1240 h 1796"/>
                <a:gd name="T94" fmla="*/ 925 w 1698"/>
                <a:gd name="T95" fmla="*/ 1240 h 1796"/>
                <a:gd name="T96" fmla="*/ 889 w 1698"/>
                <a:gd name="T97" fmla="*/ 511 h 1796"/>
                <a:gd name="T98" fmla="*/ 1126 w 1698"/>
                <a:gd name="T99" fmla="*/ 511 h 1796"/>
                <a:gd name="T100" fmla="*/ 1090 w 1698"/>
                <a:gd name="T101" fmla="*/ 1240 h 1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98" h="1796">
                  <a:moveTo>
                    <a:pt x="1698" y="1027"/>
                  </a:moveTo>
                  <a:lnTo>
                    <a:pt x="1176" y="120"/>
                  </a:lnTo>
                  <a:lnTo>
                    <a:pt x="1176" y="120"/>
                  </a:lnTo>
                  <a:lnTo>
                    <a:pt x="1158" y="92"/>
                  </a:lnTo>
                  <a:lnTo>
                    <a:pt x="1138" y="68"/>
                  </a:lnTo>
                  <a:lnTo>
                    <a:pt x="1118" y="46"/>
                  </a:lnTo>
                  <a:lnTo>
                    <a:pt x="1096" y="30"/>
                  </a:lnTo>
                  <a:lnTo>
                    <a:pt x="1076" y="16"/>
                  </a:lnTo>
                  <a:lnTo>
                    <a:pt x="1052" y="6"/>
                  </a:lnTo>
                  <a:lnTo>
                    <a:pt x="1030" y="2"/>
                  </a:lnTo>
                  <a:lnTo>
                    <a:pt x="1008" y="0"/>
                  </a:lnTo>
                  <a:lnTo>
                    <a:pt x="984" y="2"/>
                  </a:lnTo>
                  <a:lnTo>
                    <a:pt x="963" y="6"/>
                  </a:lnTo>
                  <a:lnTo>
                    <a:pt x="941" y="16"/>
                  </a:lnTo>
                  <a:lnTo>
                    <a:pt x="919" y="30"/>
                  </a:lnTo>
                  <a:lnTo>
                    <a:pt x="899" y="46"/>
                  </a:lnTo>
                  <a:lnTo>
                    <a:pt x="879" y="68"/>
                  </a:lnTo>
                  <a:lnTo>
                    <a:pt x="859" y="92"/>
                  </a:lnTo>
                  <a:lnTo>
                    <a:pt x="841" y="120"/>
                  </a:lnTo>
                  <a:lnTo>
                    <a:pt x="40" y="1509"/>
                  </a:lnTo>
                  <a:lnTo>
                    <a:pt x="40" y="1509"/>
                  </a:lnTo>
                  <a:lnTo>
                    <a:pt x="24" y="1539"/>
                  </a:lnTo>
                  <a:lnTo>
                    <a:pt x="12" y="1567"/>
                  </a:lnTo>
                  <a:lnTo>
                    <a:pt x="4" y="1595"/>
                  </a:lnTo>
                  <a:lnTo>
                    <a:pt x="0" y="1620"/>
                  </a:lnTo>
                  <a:lnTo>
                    <a:pt x="0" y="1646"/>
                  </a:lnTo>
                  <a:lnTo>
                    <a:pt x="2" y="1670"/>
                  </a:lnTo>
                  <a:lnTo>
                    <a:pt x="10" y="1692"/>
                  </a:lnTo>
                  <a:lnTo>
                    <a:pt x="20" y="1712"/>
                  </a:lnTo>
                  <a:lnTo>
                    <a:pt x="32" y="1730"/>
                  </a:lnTo>
                  <a:lnTo>
                    <a:pt x="48" y="1748"/>
                  </a:lnTo>
                  <a:lnTo>
                    <a:pt x="68" y="1762"/>
                  </a:lnTo>
                  <a:lnTo>
                    <a:pt x="90" y="1774"/>
                  </a:lnTo>
                  <a:lnTo>
                    <a:pt x="114" y="1784"/>
                  </a:lnTo>
                  <a:lnTo>
                    <a:pt x="142" y="1790"/>
                  </a:lnTo>
                  <a:lnTo>
                    <a:pt x="171" y="1796"/>
                  </a:lnTo>
                  <a:lnTo>
                    <a:pt x="205" y="1796"/>
                  </a:lnTo>
                  <a:lnTo>
                    <a:pt x="1698" y="1796"/>
                  </a:lnTo>
                  <a:lnTo>
                    <a:pt x="1698" y="1027"/>
                  </a:lnTo>
                  <a:close/>
                  <a:moveTo>
                    <a:pt x="1110" y="1533"/>
                  </a:moveTo>
                  <a:lnTo>
                    <a:pt x="1110" y="1533"/>
                  </a:lnTo>
                  <a:lnTo>
                    <a:pt x="907" y="1533"/>
                  </a:lnTo>
                  <a:lnTo>
                    <a:pt x="907" y="1347"/>
                  </a:lnTo>
                  <a:lnTo>
                    <a:pt x="1110" y="1347"/>
                  </a:lnTo>
                  <a:lnTo>
                    <a:pt x="1110" y="1533"/>
                  </a:lnTo>
                  <a:close/>
                  <a:moveTo>
                    <a:pt x="1090" y="1240"/>
                  </a:moveTo>
                  <a:lnTo>
                    <a:pt x="1090" y="1240"/>
                  </a:lnTo>
                  <a:lnTo>
                    <a:pt x="925" y="1240"/>
                  </a:lnTo>
                  <a:lnTo>
                    <a:pt x="889" y="511"/>
                  </a:lnTo>
                  <a:lnTo>
                    <a:pt x="1126" y="511"/>
                  </a:lnTo>
                  <a:lnTo>
                    <a:pt x="1090" y="1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effectLst/>
                <a:uLnTx/>
                <a:uFillTx/>
                <a:latin typeface="Calibri"/>
                <a:ea typeface="+mn-ea"/>
                <a:cs typeface="+mn-cs"/>
              </a:endParaRPr>
            </a:p>
          </p:txBody>
        </p:sp>
      </p:grpSp>
      <p:sp>
        <p:nvSpPr>
          <p:cNvPr id="626" name="Freeform: Shape 625">
            <a:extLst>
              <a:ext uri="{FF2B5EF4-FFF2-40B4-BE49-F238E27FC236}">
                <a16:creationId xmlns:a16="http://schemas.microsoft.com/office/drawing/2014/main" id="{1E4BB65C-EF42-97F3-EDBD-EE6A68D4346F}"/>
              </a:ext>
            </a:extLst>
          </p:cNvPr>
          <p:cNvSpPr/>
          <p:nvPr/>
        </p:nvSpPr>
        <p:spPr>
          <a:xfrm rot="5400000">
            <a:off x="583454" y="5744167"/>
            <a:ext cx="25173" cy="25468"/>
          </a:xfrm>
          <a:custGeom>
            <a:avLst/>
            <a:gdLst>
              <a:gd name="connsiteX0" fmla="*/ 27244 w 50402"/>
              <a:gd name="connsiteY0" fmla="*/ 0 h 47749"/>
              <a:gd name="connsiteX1" fmla="*/ 24591 w 50402"/>
              <a:gd name="connsiteY1" fmla="*/ 0 h 47749"/>
              <a:gd name="connsiteX2" fmla="*/ 0 w 50402"/>
              <a:gd name="connsiteY2" fmla="*/ 24591 h 47749"/>
              <a:gd name="connsiteX3" fmla="*/ 24591 w 50402"/>
              <a:gd name="connsiteY3" fmla="*/ 49182 h 47749"/>
              <a:gd name="connsiteX4" fmla="*/ 27244 w 50402"/>
              <a:gd name="connsiteY4" fmla="*/ 49182 h 47749"/>
              <a:gd name="connsiteX5" fmla="*/ 51835 w 50402"/>
              <a:gd name="connsiteY5" fmla="*/ 24591 h 47749"/>
              <a:gd name="connsiteX6" fmla="*/ 27244 w 50402"/>
              <a:gd name="connsiteY6" fmla="*/ 0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2" h="47749">
                <a:moveTo>
                  <a:pt x="27244" y="0"/>
                </a:moveTo>
                <a:lnTo>
                  <a:pt x="24591" y="0"/>
                </a:lnTo>
                <a:cubicBezTo>
                  <a:pt x="11010" y="0"/>
                  <a:pt x="0" y="11010"/>
                  <a:pt x="0" y="24591"/>
                </a:cubicBezTo>
                <a:cubicBezTo>
                  <a:pt x="0" y="38172"/>
                  <a:pt x="11010" y="49182"/>
                  <a:pt x="24591" y="49182"/>
                </a:cubicBezTo>
                <a:lnTo>
                  <a:pt x="27244" y="49182"/>
                </a:lnTo>
                <a:cubicBezTo>
                  <a:pt x="40825" y="49182"/>
                  <a:pt x="51835" y="38172"/>
                  <a:pt x="51835" y="24591"/>
                </a:cubicBezTo>
                <a:cubicBezTo>
                  <a:pt x="51835" y="11010"/>
                  <a:pt x="40825" y="0"/>
                  <a:pt x="27244" y="0"/>
                </a:cubicBezTo>
                <a:close/>
              </a:path>
            </a:pathLst>
          </a:custGeom>
          <a:solidFill>
            <a:srgbClr val="009A44"/>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27" name="Freeform: Shape 626">
            <a:extLst>
              <a:ext uri="{FF2B5EF4-FFF2-40B4-BE49-F238E27FC236}">
                <a16:creationId xmlns:a16="http://schemas.microsoft.com/office/drawing/2014/main" id="{CC48E0AF-9588-5FE4-C0DE-DB840B6482E4}"/>
              </a:ext>
            </a:extLst>
          </p:cNvPr>
          <p:cNvSpPr/>
          <p:nvPr/>
        </p:nvSpPr>
        <p:spPr>
          <a:xfrm rot="5400000">
            <a:off x="583454" y="5626880"/>
            <a:ext cx="25173" cy="25468"/>
          </a:xfrm>
          <a:custGeom>
            <a:avLst/>
            <a:gdLst>
              <a:gd name="connsiteX0" fmla="*/ 27244 w 50402"/>
              <a:gd name="connsiteY0" fmla="*/ 0 h 47749"/>
              <a:gd name="connsiteX1" fmla="*/ 24591 w 50402"/>
              <a:gd name="connsiteY1" fmla="*/ 0 h 47749"/>
              <a:gd name="connsiteX2" fmla="*/ 0 w 50402"/>
              <a:gd name="connsiteY2" fmla="*/ 24591 h 47749"/>
              <a:gd name="connsiteX3" fmla="*/ 24591 w 50402"/>
              <a:gd name="connsiteY3" fmla="*/ 49182 h 47749"/>
              <a:gd name="connsiteX4" fmla="*/ 27244 w 50402"/>
              <a:gd name="connsiteY4" fmla="*/ 49182 h 47749"/>
              <a:gd name="connsiteX5" fmla="*/ 51835 w 50402"/>
              <a:gd name="connsiteY5" fmla="*/ 24591 h 47749"/>
              <a:gd name="connsiteX6" fmla="*/ 27244 w 50402"/>
              <a:gd name="connsiteY6" fmla="*/ 0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2" h="47749">
                <a:moveTo>
                  <a:pt x="27244" y="0"/>
                </a:moveTo>
                <a:lnTo>
                  <a:pt x="24591" y="0"/>
                </a:lnTo>
                <a:cubicBezTo>
                  <a:pt x="11010" y="0"/>
                  <a:pt x="0" y="11010"/>
                  <a:pt x="0" y="24591"/>
                </a:cubicBezTo>
                <a:cubicBezTo>
                  <a:pt x="0" y="38172"/>
                  <a:pt x="11010" y="49182"/>
                  <a:pt x="24591" y="49182"/>
                </a:cubicBezTo>
                <a:lnTo>
                  <a:pt x="27244" y="49182"/>
                </a:lnTo>
                <a:cubicBezTo>
                  <a:pt x="40825" y="49182"/>
                  <a:pt x="51835" y="38172"/>
                  <a:pt x="51835" y="24591"/>
                </a:cubicBezTo>
                <a:cubicBezTo>
                  <a:pt x="51835" y="11010"/>
                  <a:pt x="40825" y="0"/>
                  <a:pt x="27244" y="0"/>
                </a:cubicBezTo>
                <a:close/>
              </a:path>
            </a:pathLst>
          </a:custGeom>
          <a:solidFill>
            <a:srgbClr val="009A44"/>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28" name="Freeform: Shape 627">
            <a:extLst>
              <a:ext uri="{FF2B5EF4-FFF2-40B4-BE49-F238E27FC236}">
                <a16:creationId xmlns:a16="http://schemas.microsoft.com/office/drawing/2014/main" id="{847708E3-846F-81EC-637B-999ACB3AE0B2}"/>
              </a:ext>
            </a:extLst>
          </p:cNvPr>
          <p:cNvSpPr/>
          <p:nvPr/>
        </p:nvSpPr>
        <p:spPr>
          <a:xfrm rot="5400000">
            <a:off x="835714" y="6070634"/>
            <a:ext cx="23848" cy="26884"/>
          </a:xfrm>
          <a:custGeom>
            <a:avLst/>
            <a:gdLst>
              <a:gd name="connsiteX0" fmla="*/ 24591 w 47749"/>
              <a:gd name="connsiteY0" fmla="*/ 0 h 50402"/>
              <a:gd name="connsiteX1" fmla="*/ 0 w 47749"/>
              <a:gd name="connsiteY1" fmla="*/ 24564 h 50402"/>
              <a:gd name="connsiteX2" fmla="*/ 0 w 47749"/>
              <a:gd name="connsiteY2" fmla="*/ 27217 h 50402"/>
              <a:gd name="connsiteX3" fmla="*/ 24591 w 47749"/>
              <a:gd name="connsiteY3" fmla="*/ 51808 h 50402"/>
              <a:gd name="connsiteX4" fmla="*/ 49182 w 47749"/>
              <a:gd name="connsiteY4" fmla="*/ 27217 h 50402"/>
              <a:gd name="connsiteX5" fmla="*/ 49182 w 47749"/>
              <a:gd name="connsiteY5" fmla="*/ 24564 h 50402"/>
              <a:gd name="connsiteX6" fmla="*/ 24591 w 47749"/>
              <a:gd name="connsiteY6" fmla="*/ 0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49" h="50402">
                <a:moveTo>
                  <a:pt x="24591" y="0"/>
                </a:moveTo>
                <a:cubicBezTo>
                  <a:pt x="11020" y="0"/>
                  <a:pt x="14" y="10994"/>
                  <a:pt x="0" y="24564"/>
                </a:cubicBezTo>
                <a:lnTo>
                  <a:pt x="0" y="27217"/>
                </a:lnTo>
                <a:cubicBezTo>
                  <a:pt x="0" y="40798"/>
                  <a:pt x="11010" y="51808"/>
                  <a:pt x="24591" y="51808"/>
                </a:cubicBezTo>
                <a:cubicBezTo>
                  <a:pt x="38172" y="51808"/>
                  <a:pt x="49182" y="40798"/>
                  <a:pt x="49182" y="27217"/>
                </a:cubicBezTo>
                <a:lnTo>
                  <a:pt x="49182" y="24564"/>
                </a:lnTo>
                <a:cubicBezTo>
                  <a:pt x="49168" y="10994"/>
                  <a:pt x="38162" y="0"/>
                  <a:pt x="24591" y="0"/>
                </a:cubicBezTo>
                <a:close/>
              </a:path>
            </a:pathLst>
          </a:custGeom>
          <a:solidFill>
            <a:srgbClr val="009A44"/>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29" name="Freeform: Shape 628">
            <a:extLst>
              <a:ext uri="{FF2B5EF4-FFF2-40B4-BE49-F238E27FC236}">
                <a16:creationId xmlns:a16="http://schemas.microsoft.com/office/drawing/2014/main" id="{0621C52D-F028-B110-7843-7F170D51F5DD}"/>
              </a:ext>
            </a:extLst>
          </p:cNvPr>
          <p:cNvSpPr/>
          <p:nvPr/>
        </p:nvSpPr>
        <p:spPr>
          <a:xfrm rot="5400000">
            <a:off x="713292" y="6048696"/>
            <a:ext cx="25173" cy="26884"/>
          </a:xfrm>
          <a:custGeom>
            <a:avLst/>
            <a:gdLst>
              <a:gd name="connsiteX0" fmla="*/ 36607 w 50402"/>
              <a:gd name="connsiteY0" fmla="*/ 2503 h 50402"/>
              <a:gd name="connsiteX1" fmla="*/ 3716 w 50402"/>
              <a:gd name="connsiteY1" fmla="*/ 13799 h 50402"/>
              <a:gd name="connsiteX2" fmla="*/ 3713 w 50402"/>
              <a:gd name="connsiteY2" fmla="*/ 13804 h 50402"/>
              <a:gd name="connsiteX3" fmla="*/ 2600 w 50402"/>
              <a:gd name="connsiteY3" fmla="*/ 16059 h 50402"/>
              <a:gd name="connsiteX4" fmla="*/ 13608 w 50402"/>
              <a:gd name="connsiteY4" fmla="*/ 49059 h 50402"/>
              <a:gd name="connsiteX5" fmla="*/ 46608 w 50402"/>
              <a:gd name="connsiteY5" fmla="*/ 38050 h 50402"/>
              <a:gd name="connsiteX6" fmla="*/ 47909 w 50402"/>
              <a:gd name="connsiteY6" fmla="*/ 35397 h 50402"/>
              <a:gd name="connsiteX7" fmla="*/ 36614 w 50402"/>
              <a:gd name="connsiteY7" fmla="*/ 2506 h 50402"/>
              <a:gd name="connsiteX8" fmla="*/ 36608 w 50402"/>
              <a:gd name="connsiteY8" fmla="*/ 2503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02" h="50402">
                <a:moveTo>
                  <a:pt x="36607" y="2503"/>
                </a:moveTo>
                <a:cubicBezTo>
                  <a:pt x="24406" y="-3460"/>
                  <a:pt x="9680" y="1597"/>
                  <a:pt x="3716" y="13799"/>
                </a:cubicBezTo>
                <a:cubicBezTo>
                  <a:pt x="3715" y="13800"/>
                  <a:pt x="3715" y="13802"/>
                  <a:pt x="3713" y="13804"/>
                </a:cubicBezTo>
                <a:lnTo>
                  <a:pt x="2600" y="16059"/>
                </a:lnTo>
                <a:cubicBezTo>
                  <a:pt x="-3473" y="28211"/>
                  <a:pt x="1456" y="42986"/>
                  <a:pt x="13608" y="49059"/>
                </a:cubicBezTo>
                <a:cubicBezTo>
                  <a:pt x="25760" y="55132"/>
                  <a:pt x="40536" y="50203"/>
                  <a:pt x="46608" y="38050"/>
                </a:cubicBezTo>
                <a:lnTo>
                  <a:pt x="47909" y="35397"/>
                </a:lnTo>
                <a:cubicBezTo>
                  <a:pt x="53872" y="23195"/>
                  <a:pt x="48815" y="8469"/>
                  <a:pt x="36614" y="2506"/>
                </a:cubicBezTo>
                <a:cubicBezTo>
                  <a:pt x="36612" y="2505"/>
                  <a:pt x="36610" y="2504"/>
                  <a:pt x="36608" y="2503"/>
                </a:cubicBezTo>
                <a:close/>
              </a:path>
            </a:pathLst>
          </a:custGeom>
          <a:solidFill>
            <a:srgbClr val="009A44"/>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30" name="Freeform: Shape 629">
            <a:extLst>
              <a:ext uri="{FF2B5EF4-FFF2-40B4-BE49-F238E27FC236}">
                <a16:creationId xmlns:a16="http://schemas.microsoft.com/office/drawing/2014/main" id="{DC550D0E-7822-8195-8078-7444CDB0A3A9}"/>
              </a:ext>
            </a:extLst>
          </p:cNvPr>
          <p:cNvSpPr/>
          <p:nvPr/>
        </p:nvSpPr>
        <p:spPr>
          <a:xfrm rot="5400000">
            <a:off x="583635" y="5861633"/>
            <a:ext cx="25173" cy="25468"/>
          </a:xfrm>
          <a:custGeom>
            <a:avLst/>
            <a:gdLst>
              <a:gd name="connsiteX0" fmla="*/ 26149 w 50402"/>
              <a:gd name="connsiteY0" fmla="*/ 18 h 47749"/>
              <a:gd name="connsiteX1" fmla="*/ 23497 w 50402"/>
              <a:gd name="connsiteY1" fmla="*/ 18 h 47749"/>
              <a:gd name="connsiteX2" fmla="*/ 25 w 50402"/>
              <a:gd name="connsiteY2" fmla="*/ 25680 h 47749"/>
              <a:gd name="connsiteX3" fmla="*/ 24266 w 50402"/>
              <a:gd name="connsiteY3" fmla="*/ 49174 h 47749"/>
              <a:gd name="connsiteX4" fmla="*/ 25089 w 50402"/>
              <a:gd name="connsiteY4" fmla="*/ 49174 h 47749"/>
              <a:gd name="connsiteX5" fmla="*/ 27954 w 50402"/>
              <a:gd name="connsiteY5" fmla="*/ 49174 h 47749"/>
              <a:gd name="connsiteX6" fmla="*/ 51590 w 50402"/>
              <a:gd name="connsiteY6" fmla="*/ 23654 h 47749"/>
              <a:gd name="connsiteX7" fmla="*/ 26070 w 50402"/>
              <a:gd name="connsiteY7" fmla="*/ 18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02" h="47749">
                <a:moveTo>
                  <a:pt x="26149" y="18"/>
                </a:moveTo>
                <a:lnTo>
                  <a:pt x="23497" y="18"/>
                </a:lnTo>
                <a:cubicBezTo>
                  <a:pt x="9929" y="623"/>
                  <a:pt x="-580" y="12112"/>
                  <a:pt x="25" y="25680"/>
                </a:cubicBezTo>
                <a:cubicBezTo>
                  <a:pt x="605" y="38696"/>
                  <a:pt x="11237" y="49001"/>
                  <a:pt x="24266" y="49174"/>
                </a:cubicBezTo>
                <a:lnTo>
                  <a:pt x="25089" y="49174"/>
                </a:lnTo>
                <a:lnTo>
                  <a:pt x="27954" y="49174"/>
                </a:lnTo>
                <a:cubicBezTo>
                  <a:pt x="41527" y="48654"/>
                  <a:pt x="52110" y="37228"/>
                  <a:pt x="51590" y="23654"/>
                </a:cubicBezTo>
                <a:cubicBezTo>
                  <a:pt x="51069" y="10080"/>
                  <a:pt x="39645" y="-502"/>
                  <a:pt x="26070" y="18"/>
                </a:cubicBezTo>
                <a:close/>
              </a:path>
            </a:pathLst>
          </a:custGeom>
          <a:solidFill>
            <a:srgbClr val="009A44"/>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31" name="Freeform: Shape 630">
            <a:extLst>
              <a:ext uri="{FF2B5EF4-FFF2-40B4-BE49-F238E27FC236}">
                <a16:creationId xmlns:a16="http://schemas.microsoft.com/office/drawing/2014/main" id="{75B575F6-988B-083F-3D73-190D9297830C}"/>
              </a:ext>
            </a:extLst>
          </p:cNvPr>
          <p:cNvSpPr/>
          <p:nvPr/>
        </p:nvSpPr>
        <p:spPr>
          <a:xfrm rot="5400000">
            <a:off x="620463" y="5970940"/>
            <a:ext cx="25173" cy="26884"/>
          </a:xfrm>
          <a:custGeom>
            <a:avLst/>
            <a:gdLst>
              <a:gd name="connsiteX0" fmla="*/ 14403 w 50402"/>
              <a:gd name="connsiteY0" fmla="*/ 3860 h 50402"/>
              <a:gd name="connsiteX1" fmla="*/ 12254 w 50402"/>
              <a:gd name="connsiteY1" fmla="*/ 5240 h 50402"/>
              <a:gd name="connsiteX2" fmla="*/ 3325 w 50402"/>
              <a:gd name="connsiteY2" fmla="*/ 38851 h 50402"/>
              <a:gd name="connsiteX3" fmla="*/ 36936 w 50402"/>
              <a:gd name="connsiteY3" fmla="*/ 47780 h 50402"/>
              <a:gd name="connsiteX4" fmla="*/ 38782 w 50402"/>
              <a:gd name="connsiteY4" fmla="*/ 46596 h 50402"/>
              <a:gd name="connsiteX5" fmla="*/ 41223 w 50402"/>
              <a:gd name="connsiteY5" fmla="*/ 45031 h 50402"/>
              <a:gd name="connsiteX6" fmla="*/ 47985 w 50402"/>
              <a:gd name="connsiteY6" fmla="*/ 10918 h 50402"/>
              <a:gd name="connsiteX7" fmla="*/ 14324 w 50402"/>
              <a:gd name="connsiteY7" fmla="*/ 3860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02" h="50402">
                <a:moveTo>
                  <a:pt x="14403" y="3860"/>
                </a:moveTo>
                <a:lnTo>
                  <a:pt x="12254" y="5240"/>
                </a:lnTo>
                <a:cubicBezTo>
                  <a:pt x="508" y="12055"/>
                  <a:pt x="-3491" y="27104"/>
                  <a:pt x="3325" y="38851"/>
                </a:cubicBezTo>
                <a:cubicBezTo>
                  <a:pt x="10141" y="50598"/>
                  <a:pt x="25188" y="54596"/>
                  <a:pt x="36936" y="47780"/>
                </a:cubicBezTo>
                <a:cubicBezTo>
                  <a:pt x="37568" y="47413"/>
                  <a:pt x="38185" y="47018"/>
                  <a:pt x="38782" y="46596"/>
                </a:cubicBezTo>
                <a:lnTo>
                  <a:pt x="41223" y="45031"/>
                </a:lnTo>
                <a:cubicBezTo>
                  <a:pt x="52511" y="37478"/>
                  <a:pt x="55538" y="22205"/>
                  <a:pt x="47985" y="10918"/>
                </a:cubicBezTo>
                <a:cubicBezTo>
                  <a:pt x="40549" y="-194"/>
                  <a:pt x="25597" y="-3329"/>
                  <a:pt x="14324" y="3860"/>
                </a:cubicBezTo>
                <a:close/>
              </a:path>
            </a:pathLst>
          </a:custGeom>
          <a:solidFill>
            <a:srgbClr val="009A44"/>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32" name="Freeform: Shape 631">
            <a:extLst>
              <a:ext uri="{FF2B5EF4-FFF2-40B4-BE49-F238E27FC236}">
                <a16:creationId xmlns:a16="http://schemas.microsoft.com/office/drawing/2014/main" id="{9266445F-1BFB-EC8D-B83E-F22A83EB2BF1}"/>
              </a:ext>
            </a:extLst>
          </p:cNvPr>
          <p:cNvSpPr/>
          <p:nvPr/>
        </p:nvSpPr>
        <p:spPr>
          <a:xfrm rot="5400000">
            <a:off x="602856" y="4971906"/>
            <a:ext cx="1104931" cy="1138987"/>
          </a:xfrm>
          <a:custGeom>
            <a:avLst/>
            <a:gdLst>
              <a:gd name="connsiteX0" fmla="*/ 2173027 w 2212386"/>
              <a:gd name="connsiteY0" fmla="*/ 1409030 h 2135457"/>
              <a:gd name="connsiteX1" fmla="*/ 2192781 w 2212386"/>
              <a:gd name="connsiteY1" fmla="*/ 1430260 h 2135457"/>
              <a:gd name="connsiteX2" fmla="*/ 2214011 w 2212386"/>
              <a:gd name="connsiteY2" fmla="*/ 1410505 h 2135457"/>
              <a:gd name="connsiteX3" fmla="*/ 2214011 w 2212386"/>
              <a:gd name="connsiteY3" fmla="*/ 1409030 h 2135457"/>
              <a:gd name="connsiteX4" fmla="*/ 2214012 w 2212386"/>
              <a:gd name="connsiteY4" fmla="*/ 456112 h 2135457"/>
              <a:gd name="connsiteX5" fmla="*/ 1758112 w 2212386"/>
              <a:gd name="connsiteY5" fmla="*/ 0 h 2135457"/>
              <a:gd name="connsiteX6" fmla="*/ 1757927 w 2212386"/>
              <a:gd name="connsiteY6" fmla="*/ 0 h 2135457"/>
              <a:gd name="connsiteX7" fmla="*/ 532598 w 2212386"/>
              <a:gd name="connsiteY7" fmla="*/ 0 h 2135457"/>
              <a:gd name="connsiteX8" fmla="*/ 393753 w 2212386"/>
              <a:gd name="connsiteY8" fmla="*/ 21673 h 2135457"/>
              <a:gd name="connsiteX9" fmla="*/ 393594 w 2212386"/>
              <a:gd name="connsiteY9" fmla="*/ 21673 h 2135457"/>
              <a:gd name="connsiteX10" fmla="*/ 76644 w 2212386"/>
              <a:gd name="connsiteY10" fmla="*/ 456086 h 2135457"/>
              <a:gd name="connsiteX11" fmla="*/ 76644 w 2212386"/>
              <a:gd name="connsiteY11" fmla="*/ 975148 h 2135457"/>
              <a:gd name="connsiteX12" fmla="*/ 1902 w 2212386"/>
              <a:gd name="connsiteY12" fmla="*/ 1087636 h 2135457"/>
              <a:gd name="connsiteX13" fmla="*/ 76644 w 2212386"/>
              <a:gd name="connsiteY13" fmla="*/ 1162378 h 2135457"/>
              <a:gd name="connsiteX14" fmla="*/ 76644 w 2212386"/>
              <a:gd name="connsiteY14" fmla="*/ 1681414 h 2135457"/>
              <a:gd name="connsiteX15" fmla="*/ 532730 w 2212386"/>
              <a:gd name="connsiteY15" fmla="*/ 2137500 h 2135457"/>
              <a:gd name="connsiteX16" fmla="*/ 1145381 w 2212386"/>
              <a:gd name="connsiteY16" fmla="*/ 2137500 h 2135457"/>
              <a:gd name="connsiteX17" fmla="*/ 1166610 w 2212386"/>
              <a:gd name="connsiteY17" fmla="*/ 2117745 h 2135457"/>
              <a:gd name="connsiteX18" fmla="*/ 1146856 w 2212386"/>
              <a:gd name="connsiteY18" fmla="*/ 2096515 h 2135457"/>
              <a:gd name="connsiteX19" fmla="*/ 1145381 w 2212386"/>
              <a:gd name="connsiteY19" fmla="*/ 2096515 h 2135457"/>
              <a:gd name="connsiteX20" fmla="*/ 532598 w 2212386"/>
              <a:gd name="connsiteY20" fmla="*/ 2096515 h 2135457"/>
              <a:gd name="connsiteX21" fmla="*/ 117497 w 2212386"/>
              <a:gd name="connsiteY21" fmla="*/ 1681414 h 2135457"/>
              <a:gd name="connsiteX22" fmla="*/ 117497 w 2212386"/>
              <a:gd name="connsiteY22" fmla="*/ 1161927 h 2135457"/>
              <a:gd name="connsiteX23" fmla="*/ 189675 w 2212386"/>
              <a:gd name="connsiteY23" fmla="*/ 1047777 h 2135457"/>
              <a:gd name="connsiteX24" fmla="*/ 117497 w 2212386"/>
              <a:gd name="connsiteY24" fmla="*/ 975599 h 2135457"/>
              <a:gd name="connsiteX25" fmla="*/ 117497 w 2212386"/>
              <a:gd name="connsiteY25" fmla="*/ 456112 h 2135457"/>
              <a:gd name="connsiteX26" fmla="*/ 405823 w 2212386"/>
              <a:gd name="connsiteY26" fmla="*/ 60854 h 2135457"/>
              <a:gd name="connsiteX27" fmla="*/ 405983 w 2212386"/>
              <a:gd name="connsiteY27" fmla="*/ 60854 h 2135457"/>
              <a:gd name="connsiteX28" fmla="*/ 532598 w 2212386"/>
              <a:gd name="connsiteY28" fmla="*/ 41011 h 2135457"/>
              <a:gd name="connsiteX29" fmla="*/ 1757926 w 2212386"/>
              <a:gd name="connsiteY29" fmla="*/ 41011 h 2135457"/>
              <a:gd name="connsiteX30" fmla="*/ 2173027 w 2212386"/>
              <a:gd name="connsiteY30" fmla="*/ 455900 h 2135457"/>
              <a:gd name="connsiteX31" fmla="*/ 2173027 w 2212386"/>
              <a:gd name="connsiteY31" fmla="*/ 456139 h 2135457"/>
              <a:gd name="connsiteX32" fmla="*/ 150656 w 2212386"/>
              <a:gd name="connsiteY32" fmla="*/ 1068763 h 2135457"/>
              <a:gd name="connsiteX33" fmla="*/ 96010 w 2212386"/>
              <a:gd name="connsiteY33" fmla="*/ 1123410 h 2135457"/>
              <a:gd name="connsiteX34" fmla="*/ 41363 w 2212386"/>
              <a:gd name="connsiteY34" fmla="*/ 1068763 h 2135457"/>
              <a:gd name="connsiteX35" fmla="*/ 96010 w 2212386"/>
              <a:gd name="connsiteY35" fmla="*/ 1014117 h 2135457"/>
              <a:gd name="connsiteX36" fmla="*/ 150656 w 2212386"/>
              <a:gd name="connsiteY36" fmla="*/ 1068763 h 213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212386" h="2135457">
                <a:moveTo>
                  <a:pt x="2173027" y="1409030"/>
                </a:moveTo>
                <a:cubicBezTo>
                  <a:pt x="2172620" y="1420348"/>
                  <a:pt x="2181464" y="1429853"/>
                  <a:pt x="2192781" y="1430260"/>
                </a:cubicBezTo>
                <a:cubicBezTo>
                  <a:pt x="2204099" y="1430667"/>
                  <a:pt x="2213604" y="1421823"/>
                  <a:pt x="2214011" y="1410505"/>
                </a:cubicBezTo>
                <a:cubicBezTo>
                  <a:pt x="2214029" y="1410014"/>
                  <a:pt x="2214029" y="1409522"/>
                  <a:pt x="2214011" y="1409030"/>
                </a:cubicBezTo>
                <a:lnTo>
                  <a:pt x="2214012" y="456112"/>
                </a:lnTo>
                <a:cubicBezTo>
                  <a:pt x="2214070" y="204267"/>
                  <a:pt x="2009957" y="59"/>
                  <a:pt x="1758112" y="0"/>
                </a:cubicBezTo>
                <a:cubicBezTo>
                  <a:pt x="1758050" y="0"/>
                  <a:pt x="1757988" y="0"/>
                  <a:pt x="1757927" y="0"/>
                </a:cubicBezTo>
                <a:lnTo>
                  <a:pt x="532598" y="0"/>
                </a:lnTo>
                <a:cubicBezTo>
                  <a:pt x="485472" y="-24"/>
                  <a:pt x="438630" y="7288"/>
                  <a:pt x="393753" y="21673"/>
                </a:cubicBezTo>
                <a:lnTo>
                  <a:pt x="393594" y="21673"/>
                </a:lnTo>
                <a:cubicBezTo>
                  <a:pt x="204891" y="82386"/>
                  <a:pt x="76867" y="257857"/>
                  <a:pt x="76644" y="456086"/>
                </a:cubicBezTo>
                <a:lnTo>
                  <a:pt x="76644" y="975148"/>
                </a:lnTo>
                <a:cubicBezTo>
                  <a:pt x="24942" y="985571"/>
                  <a:pt x="-8521" y="1035934"/>
                  <a:pt x="1902" y="1087636"/>
                </a:cubicBezTo>
                <a:cubicBezTo>
                  <a:pt x="9500" y="1125324"/>
                  <a:pt x="38957" y="1154781"/>
                  <a:pt x="76644" y="1162378"/>
                </a:cubicBezTo>
                <a:lnTo>
                  <a:pt x="76644" y="1681414"/>
                </a:lnTo>
                <a:cubicBezTo>
                  <a:pt x="76644" y="1932920"/>
                  <a:pt x="281251" y="2137500"/>
                  <a:pt x="532730" y="2137500"/>
                </a:cubicBezTo>
                <a:lnTo>
                  <a:pt x="1145381" y="2137500"/>
                </a:lnTo>
                <a:cubicBezTo>
                  <a:pt x="1156699" y="2137907"/>
                  <a:pt x="1166204" y="2129063"/>
                  <a:pt x="1166610" y="2117745"/>
                </a:cubicBezTo>
                <a:cubicBezTo>
                  <a:pt x="1167017" y="2106427"/>
                  <a:pt x="1158173" y="2096922"/>
                  <a:pt x="1146856" y="2096515"/>
                </a:cubicBezTo>
                <a:cubicBezTo>
                  <a:pt x="1146365" y="2096497"/>
                  <a:pt x="1145873" y="2096497"/>
                  <a:pt x="1145381" y="2096515"/>
                </a:cubicBezTo>
                <a:lnTo>
                  <a:pt x="532598" y="2096515"/>
                </a:lnTo>
                <a:cubicBezTo>
                  <a:pt x="303693" y="2096515"/>
                  <a:pt x="117497" y="1910319"/>
                  <a:pt x="117497" y="1681414"/>
                </a:cubicBezTo>
                <a:lnTo>
                  <a:pt x="117497" y="1161927"/>
                </a:lnTo>
                <a:cubicBezTo>
                  <a:pt x="168950" y="1150337"/>
                  <a:pt x="201266" y="1099230"/>
                  <a:pt x="189675" y="1047777"/>
                </a:cubicBezTo>
                <a:cubicBezTo>
                  <a:pt x="181571" y="1011799"/>
                  <a:pt x="153475" y="983703"/>
                  <a:pt x="117497" y="975599"/>
                </a:cubicBezTo>
                <a:lnTo>
                  <a:pt x="117497" y="456112"/>
                </a:lnTo>
                <a:cubicBezTo>
                  <a:pt x="117180" y="275598"/>
                  <a:pt x="233836" y="115679"/>
                  <a:pt x="405823" y="60854"/>
                </a:cubicBezTo>
                <a:lnTo>
                  <a:pt x="405983" y="60854"/>
                </a:lnTo>
                <a:cubicBezTo>
                  <a:pt x="446900" y="47699"/>
                  <a:pt x="489618" y="41004"/>
                  <a:pt x="532598" y="41011"/>
                </a:cubicBezTo>
                <a:lnTo>
                  <a:pt x="1757926" y="41011"/>
                </a:lnTo>
                <a:cubicBezTo>
                  <a:pt x="1987121" y="40953"/>
                  <a:pt x="2172968" y="226705"/>
                  <a:pt x="2173027" y="455900"/>
                </a:cubicBezTo>
                <a:cubicBezTo>
                  <a:pt x="2173027" y="455980"/>
                  <a:pt x="2173027" y="456059"/>
                  <a:pt x="2173027" y="456139"/>
                </a:cubicBezTo>
                <a:close/>
                <a:moveTo>
                  <a:pt x="150656" y="1068763"/>
                </a:moveTo>
                <a:cubicBezTo>
                  <a:pt x="150656" y="1098944"/>
                  <a:pt x="126190" y="1123410"/>
                  <a:pt x="96010" y="1123410"/>
                </a:cubicBezTo>
                <a:cubicBezTo>
                  <a:pt x="65829" y="1123410"/>
                  <a:pt x="41363" y="1098944"/>
                  <a:pt x="41363" y="1068763"/>
                </a:cubicBezTo>
                <a:cubicBezTo>
                  <a:pt x="41363" y="1038583"/>
                  <a:pt x="65829" y="1014117"/>
                  <a:pt x="96010" y="1014117"/>
                </a:cubicBezTo>
                <a:cubicBezTo>
                  <a:pt x="126178" y="1014146"/>
                  <a:pt x="150627" y="1038595"/>
                  <a:pt x="150656" y="1068763"/>
                </a:cubicBezTo>
                <a:close/>
              </a:path>
            </a:pathLst>
          </a:custGeom>
          <a:solidFill>
            <a:srgbClr val="009A44"/>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33" name="Freeform: Shape 632">
            <a:extLst>
              <a:ext uri="{FF2B5EF4-FFF2-40B4-BE49-F238E27FC236}">
                <a16:creationId xmlns:a16="http://schemas.microsoft.com/office/drawing/2014/main" id="{D0424809-E0CA-5282-93AC-DEC7E6AB364A}"/>
              </a:ext>
            </a:extLst>
          </p:cNvPr>
          <p:cNvSpPr/>
          <p:nvPr/>
        </p:nvSpPr>
        <p:spPr>
          <a:xfrm rot="5400000">
            <a:off x="1138733" y="5018709"/>
            <a:ext cx="33121" cy="35372"/>
          </a:xfrm>
          <a:custGeom>
            <a:avLst/>
            <a:gdLst>
              <a:gd name="connsiteX0" fmla="*/ 68281 w 66318"/>
              <a:gd name="connsiteY0" fmla="*/ 34141 h 66318"/>
              <a:gd name="connsiteX1" fmla="*/ 34140 w 66318"/>
              <a:gd name="connsiteY1" fmla="*/ 68282 h 66318"/>
              <a:gd name="connsiteX2" fmla="*/ -1 w 66318"/>
              <a:gd name="connsiteY2" fmla="*/ 34141 h 66318"/>
              <a:gd name="connsiteX3" fmla="*/ 34140 w 66318"/>
              <a:gd name="connsiteY3" fmla="*/ 0 h 66318"/>
              <a:gd name="connsiteX4" fmla="*/ 68281 w 66318"/>
              <a:gd name="connsiteY4" fmla="*/ 34141 h 66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8" h="66318">
                <a:moveTo>
                  <a:pt x="68281" y="34141"/>
                </a:moveTo>
                <a:cubicBezTo>
                  <a:pt x="68281" y="52996"/>
                  <a:pt x="52996" y="68282"/>
                  <a:pt x="34140" y="68282"/>
                </a:cubicBezTo>
                <a:cubicBezTo>
                  <a:pt x="15285" y="68282"/>
                  <a:pt x="-1" y="52996"/>
                  <a:pt x="-1" y="34141"/>
                </a:cubicBezTo>
                <a:cubicBezTo>
                  <a:pt x="-1" y="15285"/>
                  <a:pt x="15285" y="0"/>
                  <a:pt x="34140" y="0"/>
                </a:cubicBezTo>
                <a:cubicBezTo>
                  <a:pt x="52996" y="0"/>
                  <a:pt x="68281" y="15285"/>
                  <a:pt x="68281" y="34141"/>
                </a:cubicBezTo>
                <a:close/>
              </a:path>
            </a:pathLst>
          </a:custGeom>
          <a:solidFill>
            <a:srgbClr val="009A44"/>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34" name="Rectangle: Rounded Corners 633">
            <a:extLst>
              <a:ext uri="{FF2B5EF4-FFF2-40B4-BE49-F238E27FC236}">
                <a16:creationId xmlns:a16="http://schemas.microsoft.com/office/drawing/2014/main" id="{169992A0-545A-B5AC-CFC5-FD868EE5B529}"/>
              </a:ext>
            </a:extLst>
          </p:cNvPr>
          <p:cNvSpPr/>
          <p:nvPr/>
        </p:nvSpPr>
        <p:spPr>
          <a:xfrm rot="5400000">
            <a:off x="699919" y="5074176"/>
            <a:ext cx="910177" cy="972029"/>
          </a:xfrm>
          <a:prstGeom prst="roundRect">
            <a:avLst/>
          </a:prstGeom>
          <a:solidFill>
            <a:srgbClr val="F7F7F7"/>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grpSp>
        <p:nvGrpSpPr>
          <p:cNvPr id="635" name="Group 634">
            <a:extLst>
              <a:ext uri="{FF2B5EF4-FFF2-40B4-BE49-F238E27FC236}">
                <a16:creationId xmlns:a16="http://schemas.microsoft.com/office/drawing/2014/main" id="{B5F54D07-4B1F-81D2-F598-70365833A8B9}"/>
              </a:ext>
            </a:extLst>
          </p:cNvPr>
          <p:cNvGrpSpPr/>
          <p:nvPr/>
        </p:nvGrpSpPr>
        <p:grpSpPr>
          <a:xfrm>
            <a:off x="721443" y="4065188"/>
            <a:ext cx="858594" cy="535124"/>
            <a:chOff x="10999788" y="661988"/>
            <a:chExt cx="7513637" cy="5029203"/>
          </a:xfrm>
          <a:solidFill>
            <a:srgbClr val="43B02A"/>
          </a:solidFill>
        </p:grpSpPr>
        <p:sp>
          <p:nvSpPr>
            <p:cNvPr id="636" name="Freeform 98">
              <a:extLst>
                <a:ext uri="{FF2B5EF4-FFF2-40B4-BE49-F238E27FC236}">
                  <a16:creationId xmlns:a16="http://schemas.microsoft.com/office/drawing/2014/main" id="{694836FC-8024-564A-C839-6D4A3D62FC2F}"/>
                </a:ext>
              </a:extLst>
            </p:cNvPr>
            <p:cNvSpPr>
              <a:spLocks noEditPoints="1"/>
            </p:cNvSpPr>
            <p:nvPr/>
          </p:nvSpPr>
          <p:spPr bwMode="auto">
            <a:xfrm>
              <a:off x="12363449" y="1954215"/>
              <a:ext cx="161924" cy="654047"/>
            </a:xfrm>
            <a:custGeom>
              <a:avLst/>
              <a:gdLst>
                <a:gd name="T0" fmla="*/ 102 w 102"/>
                <a:gd name="T1" fmla="*/ 115 h 412"/>
                <a:gd name="T2" fmla="*/ 102 w 102"/>
                <a:gd name="T3" fmla="*/ 142 h 412"/>
                <a:gd name="T4" fmla="*/ 76 w 102"/>
                <a:gd name="T5" fmla="*/ 265 h 412"/>
                <a:gd name="T6" fmla="*/ 72 w 102"/>
                <a:gd name="T7" fmla="*/ 276 h 412"/>
                <a:gd name="T8" fmla="*/ 65 w 102"/>
                <a:gd name="T9" fmla="*/ 283 h 412"/>
                <a:gd name="T10" fmla="*/ 38 w 102"/>
                <a:gd name="T11" fmla="*/ 283 h 412"/>
                <a:gd name="T12" fmla="*/ 34 w 102"/>
                <a:gd name="T13" fmla="*/ 282 h 412"/>
                <a:gd name="T14" fmla="*/ 27 w 102"/>
                <a:gd name="T15" fmla="*/ 270 h 412"/>
                <a:gd name="T16" fmla="*/ 25 w 102"/>
                <a:gd name="T17" fmla="*/ 265 h 412"/>
                <a:gd name="T18" fmla="*/ 0 w 102"/>
                <a:gd name="T19" fmla="*/ 142 h 412"/>
                <a:gd name="T20" fmla="*/ 0 w 102"/>
                <a:gd name="T21" fmla="*/ 115 h 412"/>
                <a:gd name="T22" fmla="*/ 0 w 102"/>
                <a:gd name="T23" fmla="*/ 13 h 412"/>
                <a:gd name="T24" fmla="*/ 4 w 102"/>
                <a:gd name="T25" fmla="*/ 4 h 412"/>
                <a:gd name="T26" fmla="*/ 14 w 102"/>
                <a:gd name="T27" fmla="*/ 0 h 412"/>
                <a:gd name="T28" fmla="*/ 89 w 102"/>
                <a:gd name="T29" fmla="*/ 0 h 412"/>
                <a:gd name="T30" fmla="*/ 95 w 102"/>
                <a:gd name="T31" fmla="*/ 2 h 412"/>
                <a:gd name="T32" fmla="*/ 100 w 102"/>
                <a:gd name="T33" fmla="*/ 10 h 412"/>
                <a:gd name="T34" fmla="*/ 102 w 102"/>
                <a:gd name="T35" fmla="*/ 115 h 412"/>
                <a:gd name="T36" fmla="*/ 102 w 102"/>
                <a:gd name="T37" fmla="*/ 399 h 412"/>
                <a:gd name="T38" fmla="*/ 99 w 102"/>
                <a:gd name="T39" fmla="*/ 408 h 412"/>
                <a:gd name="T40" fmla="*/ 89 w 102"/>
                <a:gd name="T41" fmla="*/ 412 h 412"/>
                <a:gd name="T42" fmla="*/ 14 w 102"/>
                <a:gd name="T43" fmla="*/ 412 h 412"/>
                <a:gd name="T44" fmla="*/ 8 w 102"/>
                <a:gd name="T45" fmla="*/ 410 h 412"/>
                <a:gd name="T46" fmla="*/ 0 w 102"/>
                <a:gd name="T47" fmla="*/ 404 h 412"/>
                <a:gd name="T48" fmla="*/ 0 w 102"/>
                <a:gd name="T49" fmla="*/ 399 h 412"/>
                <a:gd name="T50" fmla="*/ 0 w 102"/>
                <a:gd name="T51" fmla="*/ 321 h 412"/>
                <a:gd name="T52" fmla="*/ 4 w 102"/>
                <a:gd name="T53" fmla="*/ 314 h 412"/>
                <a:gd name="T54" fmla="*/ 14 w 102"/>
                <a:gd name="T55" fmla="*/ 308 h 412"/>
                <a:gd name="T56" fmla="*/ 89 w 102"/>
                <a:gd name="T57" fmla="*/ 308 h 412"/>
                <a:gd name="T58" fmla="*/ 95 w 102"/>
                <a:gd name="T59" fmla="*/ 310 h 412"/>
                <a:gd name="T60" fmla="*/ 100 w 102"/>
                <a:gd name="T61" fmla="*/ 317 h 412"/>
                <a:gd name="T62" fmla="*/ 102 w 102"/>
                <a:gd name="T63" fmla="*/ 399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412">
                  <a:moveTo>
                    <a:pt x="102" y="115"/>
                  </a:moveTo>
                  <a:lnTo>
                    <a:pt x="102" y="115"/>
                  </a:lnTo>
                  <a:lnTo>
                    <a:pt x="102" y="142"/>
                  </a:lnTo>
                  <a:lnTo>
                    <a:pt x="102" y="142"/>
                  </a:lnTo>
                  <a:lnTo>
                    <a:pt x="76" y="265"/>
                  </a:lnTo>
                  <a:lnTo>
                    <a:pt x="76" y="265"/>
                  </a:lnTo>
                  <a:lnTo>
                    <a:pt x="76" y="270"/>
                  </a:lnTo>
                  <a:lnTo>
                    <a:pt x="72" y="276"/>
                  </a:lnTo>
                  <a:lnTo>
                    <a:pt x="68" y="282"/>
                  </a:lnTo>
                  <a:lnTo>
                    <a:pt x="65" y="283"/>
                  </a:lnTo>
                  <a:lnTo>
                    <a:pt x="65" y="283"/>
                  </a:lnTo>
                  <a:lnTo>
                    <a:pt x="38" y="283"/>
                  </a:lnTo>
                  <a:lnTo>
                    <a:pt x="38" y="283"/>
                  </a:lnTo>
                  <a:lnTo>
                    <a:pt x="34" y="282"/>
                  </a:lnTo>
                  <a:lnTo>
                    <a:pt x="29" y="276"/>
                  </a:lnTo>
                  <a:lnTo>
                    <a:pt x="27" y="270"/>
                  </a:lnTo>
                  <a:lnTo>
                    <a:pt x="25" y="265"/>
                  </a:lnTo>
                  <a:lnTo>
                    <a:pt x="25" y="265"/>
                  </a:lnTo>
                  <a:lnTo>
                    <a:pt x="0" y="142"/>
                  </a:lnTo>
                  <a:lnTo>
                    <a:pt x="0" y="142"/>
                  </a:lnTo>
                  <a:lnTo>
                    <a:pt x="0" y="115"/>
                  </a:lnTo>
                  <a:lnTo>
                    <a:pt x="0" y="115"/>
                  </a:lnTo>
                  <a:lnTo>
                    <a:pt x="0" y="13"/>
                  </a:lnTo>
                  <a:lnTo>
                    <a:pt x="0" y="13"/>
                  </a:lnTo>
                  <a:lnTo>
                    <a:pt x="0" y="10"/>
                  </a:lnTo>
                  <a:lnTo>
                    <a:pt x="4" y="4"/>
                  </a:lnTo>
                  <a:lnTo>
                    <a:pt x="8" y="2"/>
                  </a:lnTo>
                  <a:lnTo>
                    <a:pt x="14" y="0"/>
                  </a:lnTo>
                  <a:lnTo>
                    <a:pt x="14" y="0"/>
                  </a:lnTo>
                  <a:lnTo>
                    <a:pt x="89" y="0"/>
                  </a:lnTo>
                  <a:lnTo>
                    <a:pt x="89" y="0"/>
                  </a:lnTo>
                  <a:lnTo>
                    <a:pt x="95" y="2"/>
                  </a:lnTo>
                  <a:lnTo>
                    <a:pt x="99" y="4"/>
                  </a:lnTo>
                  <a:lnTo>
                    <a:pt x="100" y="10"/>
                  </a:lnTo>
                  <a:lnTo>
                    <a:pt x="102" y="13"/>
                  </a:lnTo>
                  <a:lnTo>
                    <a:pt x="102" y="115"/>
                  </a:lnTo>
                  <a:close/>
                  <a:moveTo>
                    <a:pt x="102" y="399"/>
                  </a:moveTo>
                  <a:lnTo>
                    <a:pt x="102" y="399"/>
                  </a:lnTo>
                  <a:lnTo>
                    <a:pt x="100" y="404"/>
                  </a:lnTo>
                  <a:lnTo>
                    <a:pt x="99" y="408"/>
                  </a:lnTo>
                  <a:lnTo>
                    <a:pt x="95" y="410"/>
                  </a:lnTo>
                  <a:lnTo>
                    <a:pt x="89" y="412"/>
                  </a:lnTo>
                  <a:lnTo>
                    <a:pt x="89" y="412"/>
                  </a:lnTo>
                  <a:lnTo>
                    <a:pt x="14" y="412"/>
                  </a:lnTo>
                  <a:lnTo>
                    <a:pt x="14" y="412"/>
                  </a:lnTo>
                  <a:lnTo>
                    <a:pt x="8" y="410"/>
                  </a:lnTo>
                  <a:lnTo>
                    <a:pt x="4" y="408"/>
                  </a:lnTo>
                  <a:lnTo>
                    <a:pt x="0" y="404"/>
                  </a:lnTo>
                  <a:lnTo>
                    <a:pt x="0" y="399"/>
                  </a:lnTo>
                  <a:lnTo>
                    <a:pt x="0" y="399"/>
                  </a:lnTo>
                  <a:lnTo>
                    <a:pt x="0" y="321"/>
                  </a:lnTo>
                  <a:lnTo>
                    <a:pt x="0" y="321"/>
                  </a:lnTo>
                  <a:lnTo>
                    <a:pt x="0" y="317"/>
                  </a:lnTo>
                  <a:lnTo>
                    <a:pt x="4" y="314"/>
                  </a:lnTo>
                  <a:lnTo>
                    <a:pt x="8" y="310"/>
                  </a:lnTo>
                  <a:lnTo>
                    <a:pt x="14" y="308"/>
                  </a:lnTo>
                  <a:lnTo>
                    <a:pt x="14" y="308"/>
                  </a:lnTo>
                  <a:lnTo>
                    <a:pt x="89" y="308"/>
                  </a:lnTo>
                  <a:lnTo>
                    <a:pt x="89" y="308"/>
                  </a:lnTo>
                  <a:lnTo>
                    <a:pt x="95" y="310"/>
                  </a:lnTo>
                  <a:lnTo>
                    <a:pt x="99" y="314"/>
                  </a:lnTo>
                  <a:lnTo>
                    <a:pt x="100" y="317"/>
                  </a:lnTo>
                  <a:lnTo>
                    <a:pt x="102" y="321"/>
                  </a:lnTo>
                  <a:lnTo>
                    <a:pt x="102"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37" name="Freeform 99">
              <a:extLst>
                <a:ext uri="{FF2B5EF4-FFF2-40B4-BE49-F238E27FC236}">
                  <a16:creationId xmlns:a16="http://schemas.microsoft.com/office/drawing/2014/main" id="{FA81A6F9-7ABE-78AA-D895-B962B38864B3}"/>
                </a:ext>
              </a:extLst>
            </p:cNvPr>
            <p:cNvSpPr>
              <a:spLocks noEditPoints="1"/>
            </p:cNvSpPr>
            <p:nvPr/>
          </p:nvSpPr>
          <p:spPr bwMode="auto">
            <a:xfrm>
              <a:off x="16978313" y="1954215"/>
              <a:ext cx="161924" cy="654047"/>
            </a:xfrm>
            <a:custGeom>
              <a:avLst/>
              <a:gdLst>
                <a:gd name="T0" fmla="*/ 102 w 102"/>
                <a:gd name="T1" fmla="*/ 115 h 412"/>
                <a:gd name="T2" fmla="*/ 102 w 102"/>
                <a:gd name="T3" fmla="*/ 142 h 412"/>
                <a:gd name="T4" fmla="*/ 77 w 102"/>
                <a:gd name="T5" fmla="*/ 265 h 412"/>
                <a:gd name="T6" fmla="*/ 74 w 102"/>
                <a:gd name="T7" fmla="*/ 276 h 412"/>
                <a:gd name="T8" fmla="*/ 64 w 102"/>
                <a:gd name="T9" fmla="*/ 283 h 412"/>
                <a:gd name="T10" fmla="*/ 38 w 102"/>
                <a:gd name="T11" fmla="*/ 283 h 412"/>
                <a:gd name="T12" fmla="*/ 34 w 102"/>
                <a:gd name="T13" fmla="*/ 282 h 412"/>
                <a:gd name="T14" fmla="*/ 26 w 102"/>
                <a:gd name="T15" fmla="*/ 270 h 412"/>
                <a:gd name="T16" fmla="*/ 26 w 102"/>
                <a:gd name="T17" fmla="*/ 265 h 412"/>
                <a:gd name="T18" fmla="*/ 0 w 102"/>
                <a:gd name="T19" fmla="*/ 142 h 412"/>
                <a:gd name="T20" fmla="*/ 0 w 102"/>
                <a:gd name="T21" fmla="*/ 115 h 412"/>
                <a:gd name="T22" fmla="*/ 0 w 102"/>
                <a:gd name="T23" fmla="*/ 13 h 412"/>
                <a:gd name="T24" fmla="*/ 4 w 102"/>
                <a:gd name="T25" fmla="*/ 4 h 412"/>
                <a:gd name="T26" fmla="*/ 13 w 102"/>
                <a:gd name="T27" fmla="*/ 0 h 412"/>
                <a:gd name="T28" fmla="*/ 91 w 102"/>
                <a:gd name="T29" fmla="*/ 0 h 412"/>
                <a:gd name="T30" fmla="*/ 94 w 102"/>
                <a:gd name="T31" fmla="*/ 2 h 412"/>
                <a:gd name="T32" fmla="*/ 102 w 102"/>
                <a:gd name="T33" fmla="*/ 10 h 412"/>
                <a:gd name="T34" fmla="*/ 102 w 102"/>
                <a:gd name="T35" fmla="*/ 115 h 412"/>
                <a:gd name="T36" fmla="*/ 102 w 102"/>
                <a:gd name="T37" fmla="*/ 399 h 412"/>
                <a:gd name="T38" fmla="*/ 98 w 102"/>
                <a:gd name="T39" fmla="*/ 408 h 412"/>
                <a:gd name="T40" fmla="*/ 91 w 102"/>
                <a:gd name="T41" fmla="*/ 412 h 412"/>
                <a:gd name="T42" fmla="*/ 13 w 102"/>
                <a:gd name="T43" fmla="*/ 412 h 412"/>
                <a:gd name="T44" fmla="*/ 8 w 102"/>
                <a:gd name="T45" fmla="*/ 410 h 412"/>
                <a:gd name="T46" fmla="*/ 2 w 102"/>
                <a:gd name="T47" fmla="*/ 404 h 412"/>
                <a:gd name="T48" fmla="*/ 0 w 102"/>
                <a:gd name="T49" fmla="*/ 399 h 412"/>
                <a:gd name="T50" fmla="*/ 0 w 102"/>
                <a:gd name="T51" fmla="*/ 321 h 412"/>
                <a:gd name="T52" fmla="*/ 4 w 102"/>
                <a:gd name="T53" fmla="*/ 314 h 412"/>
                <a:gd name="T54" fmla="*/ 13 w 102"/>
                <a:gd name="T55" fmla="*/ 308 h 412"/>
                <a:gd name="T56" fmla="*/ 91 w 102"/>
                <a:gd name="T57" fmla="*/ 308 h 412"/>
                <a:gd name="T58" fmla="*/ 94 w 102"/>
                <a:gd name="T59" fmla="*/ 310 h 412"/>
                <a:gd name="T60" fmla="*/ 102 w 102"/>
                <a:gd name="T61" fmla="*/ 317 h 412"/>
                <a:gd name="T62" fmla="*/ 102 w 102"/>
                <a:gd name="T63" fmla="*/ 399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412">
                  <a:moveTo>
                    <a:pt x="102" y="115"/>
                  </a:moveTo>
                  <a:lnTo>
                    <a:pt x="102" y="115"/>
                  </a:lnTo>
                  <a:lnTo>
                    <a:pt x="102" y="142"/>
                  </a:lnTo>
                  <a:lnTo>
                    <a:pt x="102" y="142"/>
                  </a:lnTo>
                  <a:lnTo>
                    <a:pt x="77" y="265"/>
                  </a:lnTo>
                  <a:lnTo>
                    <a:pt x="77" y="265"/>
                  </a:lnTo>
                  <a:lnTo>
                    <a:pt x="76" y="270"/>
                  </a:lnTo>
                  <a:lnTo>
                    <a:pt x="74" y="276"/>
                  </a:lnTo>
                  <a:lnTo>
                    <a:pt x="70" y="282"/>
                  </a:lnTo>
                  <a:lnTo>
                    <a:pt x="64" y="283"/>
                  </a:lnTo>
                  <a:lnTo>
                    <a:pt x="64" y="283"/>
                  </a:lnTo>
                  <a:lnTo>
                    <a:pt x="38" y="283"/>
                  </a:lnTo>
                  <a:lnTo>
                    <a:pt x="38" y="283"/>
                  </a:lnTo>
                  <a:lnTo>
                    <a:pt x="34" y="282"/>
                  </a:lnTo>
                  <a:lnTo>
                    <a:pt x="30" y="276"/>
                  </a:lnTo>
                  <a:lnTo>
                    <a:pt x="26" y="270"/>
                  </a:lnTo>
                  <a:lnTo>
                    <a:pt x="26" y="265"/>
                  </a:lnTo>
                  <a:lnTo>
                    <a:pt x="26" y="265"/>
                  </a:lnTo>
                  <a:lnTo>
                    <a:pt x="0" y="142"/>
                  </a:lnTo>
                  <a:lnTo>
                    <a:pt x="0" y="142"/>
                  </a:lnTo>
                  <a:lnTo>
                    <a:pt x="0" y="115"/>
                  </a:lnTo>
                  <a:lnTo>
                    <a:pt x="0" y="115"/>
                  </a:lnTo>
                  <a:lnTo>
                    <a:pt x="0" y="13"/>
                  </a:lnTo>
                  <a:lnTo>
                    <a:pt x="0" y="13"/>
                  </a:lnTo>
                  <a:lnTo>
                    <a:pt x="2" y="10"/>
                  </a:lnTo>
                  <a:lnTo>
                    <a:pt x="4" y="4"/>
                  </a:lnTo>
                  <a:lnTo>
                    <a:pt x="8" y="2"/>
                  </a:lnTo>
                  <a:lnTo>
                    <a:pt x="13" y="0"/>
                  </a:lnTo>
                  <a:lnTo>
                    <a:pt x="13" y="0"/>
                  </a:lnTo>
                  <a:lnTo>
                    <a:pt x="91" y="0"/>
                  </a:lnTo>
                  <a:lnTo>
                    <a:pt x="91" y="0"/>
                  </a:lnTo>
                  <a:lnTo>
                    <a:pt x="94" y="2"/>
                  </a:lnTo>
                  <a:lnTo>
                    <a:pt x="98" y="4"/>
                  </a:lnTo>
                  <a:lnTo>
                    <a:pt x="102" y="10"/>
                  </a:lnTo>
                  <a:lnTo>
                    <a:pt x="102" y="13"/>
                  </a:lnTo>
                  <a:lnTo>
                    <a:pt x="102" y="115"/>
                  </a:lnTo>
                  <a:close/>
                  <a:moveTo>
                    <a:pt x="102" y="399"/>
                  </a:moveTo>
                  <a:lnTo>
                    <a:pt x="102" y="399"/>
                  </a:lnTo>
                  <a:lnTo>
                    <a:pt x="102" y="404"/>
                  </a:lnTo>
                  <a:lnTo>
                    <a:pt x="98" y="408"/>
                  </a:lnTo>
                  <a:lnTo>
                    <a:pt x="94" y="410"/>
                  </a:lnTo>
                  <a:lnTo>
                    <a:pt x="91" y="412"/>
                  </a:lnTo>
                  <a:lnTo>
                    <a:pt x="91" y="412"/>
                  </a:lnTo>
                  <a:lnTo>
                    <a:pt x="13" y="412"/>
                  </a:lnTo>
                  <a:lnTo>
                    <a:pt x="13" y="412"/>
                  </a:lnTo>
                  <a:lnTo>
                    <a:pt x="8" y="410"/>
                  </a:lnTo>
                  <a:lnTo>
                    <a:pt x="4" y="408"/>
                  </a:lnTo>
                  <a:lnTo>
                    <a:pt x="2" y="404"/>
                  </a:lnTo>
                  <a:lnTo>
                    <a:pt x="0" y="399"/>
                  </a:lnTo>
                  <a:lnTo>
                    <a:pt x="0" y="399"/>
                  </a:lnTo>
                  <a:lnTo>
                    <a:pt x="0" y="321"/>
                  </a:lnTo>
                  <a:lnTo>
                    <a:pt x="0" y="321"/>
                  </a:lnTo>
                  <a:lnTo>
                    <a:pt x="2" y="317"/>
                  </a:lnTo>
                  <a:lnTo>
                    <a:pt x="4" y="314"/>
                  </a:lnTo>
                  <a:lnTo>
                    <a:pt x="8" y="310"/>
                  </a:lnTo>
                  <a:lnTo>
                    <a:pt x="13" y="308"/>
                  </a:lnTo>
                  <a:lnTo>
                    <a:pt x="13" y="308"/>
                  </a:lnTo>
                  <a:lnTo>
                    <a:pt x="91" y="308"/>
                  </a:lnTo>
                  <a:lnTo>
                    <a:pt x="91" y="308"/>
                  </a:lnTo>
                  <a:lnTo>
                    <a:pt x="94" y="310"/>
                  </a:lnTo>
                  <a:lnTo>
                    <a:pt x="98" y="314"/>
                  </a:lnTo>
                  <a:lnTo>
                    <a:pt x="102" y="317"/>
                  </a:lnTo>
                  <a:lnTo>
                    <a:pt x="102" y="321"/>
                  </a:lnTo>
                  <a:lnTo>
                    <a:pt x="102"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38" name="Freeform 100">
              <a:extLst>
                <a:ext uri="{FF2B5EF4-FFF2-40B4-BE49-F238E27FC236}">
                  <a16:creationId xmlns:a16="http://schemas.microsoft.com/office/drawing/2014/main" id="{55A3A351-41C7-DD24-FC2C-4B74D0FFC6BD}"/>
                </a:ext>
              </a:extLst>
            </p:cNvPr>
            <p:cNvSpPr>
              <a:spLocks noEditPoints="1"/>
            </p:cNvSpPr>
            <p:nvPr/>
          </p:nvSpPr>
          <p:spPr bwMode="auto">
            <a:xfrm>
              <a:off x="17586321" y="2514596"/>
              <a:ext cx="161924" cy="650871"/>
            </a:xfrm>
            <a:custGeom>
              <a:avLst/>
              <a:gdLst>
                <a:gd name="T0" fmla="*/ 102 w 102"/>
                <a:gd name="T1" fmla="*/ 116 h 410"/>
                <a:gd name="T2" fmla="*/ 102 w 102"/>
                <a:gd name="T3" fmla="*/ 142 h 410"/>
                <a:gd name="T4" fmla="*/ 78 w 102"/>
                <a:gd name="T5" fmla="*/ 263 h 410"/>
                <a:gd name="T6" fmla="*/ 74 w 102"/>
                <a:gd name="T7" fmla="*/ 276 h 410"/>
                <a:gd name="T8" fmla="*/ 65 w 102"/>
                <a:gd name="T9" fmla="*/ 282 h 410"/>
                <a:gd name="T10" fmla="*/ 40 w 102"/>
                <a:gd name="T11" fmla="*/ 282 h 410"/>
                <a:gd name="T12" fmla="*/ 34 w 102"/>
                <a:gd name="T13" fmla="*/ 280 h 410"/>
                <a:gd name="T14" fmla="*/ 27 w 102"/>
                <a:gd name="T15" fmla="*/ 269 h 410"/>
                <a:gd name="T16" fmla="*/ 27 w 102"/>
                <a:gd name="T17" fmla="*/ 263 h 410"/>
                <a:gd name="T18" fmla="*/ 0 w 102"/>
                <a:gd name="T19" fmla="*/ 142 h 410"/>
                <a:gd name="T20" fmla="*/ 0 w 102"/>
                <a:gd name="T21" fmla="*/ 116 h 410"/>
                <a:gd name="T22" fmla="*/ 0 w 102"/>
                <a:gd name="T23" fmla="*/ 14 h 410"/>
                <a:gd name="T24" fmla="*/ 4 w 102"/>
                <a:gd name="T25" fmla="*/ 4 h 410"/>
                <a:gd name="T26" fmla="*/ 14 w 102"/>
                <a:gd name="T27" fmla="*/ 0 h 410"/>
                <a:gd name="T28" fmla="*/ 91 w 102"/>
                <a:gd name="T29" fmla="*/ 0 h 410"/>
                <a:gd name="T30" fmla="*/ 95 w 102"/>
                <a:gd name="T31" fmla="*/ 0 h 410"/>
                <a:gd name="T32" fmla="*/ 102 w 102"/>
                <a:gd name="T33" fmla="*/ 8 h 410"/>
                <a:gd name="T34" fmla="*/ 102 w 102"/>
                <a:gd name="T35" fmla="*/ 116 h 410"/>
                <a:gd name="T36" fmla="*/ 102 w 102"/>
                <a:gd name="T37" fmla="*/ 399 h 410"/>
                <a:gd name="T38" fmla="*/ 99 w 102"/>
                <a:gd name="T39" fmla="*/ 406 h 410"/>
                <a:gd name="T40" fmla="*/ 91 w 102"/>
                <a:gd name="T41" fmla="*/ 410 h 410"/>
                <a:gd name="T42" fmla="*/ 14 w 102"/>
                <a:gd name="T43" fmla="*/ 410 h 410"/>
                <a:gd name="T44" fmla="*/ 10 w 102"/>
                <a:gd name="T45" fmla="*/ 410 h 410"/>
                <a:gd name="T46" fmla="*/ 2 w 102"/>
                <a:gd name="T47" fmla="*/ 403 h 410"/>
                <a:gd name="T48" fmla="*/ 0 w 102"/>
                <a:gd name="T49" fmla="*/ 399 h 410"/>
                <a:gd name="T50" fmla="*/ 0 w 102"/>
                <a:gd name="T51" fmla="*/ 321 h 410"/>
                <a:gd name="T52" fmla="*/ 4 w 102"/>
                <a:gd name="T53" fmla="*/ 312 h 410"/>
                <a:gd name="T54" fmla="*/ 14 w 102"/>
                <a:gd name="T55" fmla="*/ 308 h 410"/>
                <a:gd name="T56" fmla="*/ 91 w 102"/>
                <a:gd name="T57" fmla="*/ 308 h 410"/>
                <a:gd name="T58" fmla="*/ 95 w 102"/>
                <a:gd name="T59" fmla="*/ 310 h 410"/>
                <a:gd name="T60" fmla="*/ 102 w 102"/>
                <a:gd name="T61" fmla="*/ 316 h 410"/>
                <a:gd name="T62" fmla="*/ 102 w 102"/>
                <a:gd name="T63" fmla="*/ 399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410">
                  <a:moveTo>
                    <a:pt x="102" y="116"/>
                  </a:moveTo>
                  <a:lnTo>
                    <a:pt x="102" y="116"/>
                  </a:lnTo>
                  <a:lnTo>
                    <a:pt x="102" y="142"/>
                  </a:lnTo>
                  <a:lnTo>
                    <a:pt x="102" y="142"/>
                  </a:lnTo>
                  <a:lnTo>
                    <a:pt x="78" y="263"/>
                  </a:lnTo>
                  <a:lnTo>
                    <a:pt x="78" y="263"/>
                  </a:lnTo>
                  <a:lnTo>
                    <a:pt x="76" y="269"/>
                  </a:lnTo>
                  <a:lnTo>
                    <a:pt x="74" y="276"/>
                  </a:lnTo>
                  <a:lnTo>
                    <a:pt x="70" y="280"/>
                  </a:lnTo>
                  <a:lnTo>
                    <a:pt x="65" y="282"/>
                  </a:lnTo>
                  <a:lnTo>
                    <a:pt x="65" y="282"/>
                  </a:lnTo>
                  <a:lnTo>
                    <a:pt x="40" y="282"/>
                  </a:lnTo>
                  <a:lnTo>
                    <a:pt x="40" y="282"/>
                  </a:lnTo>
                  <a:lnTo>
                    <a:pt x="34" y="280"/>
                  </a:lnTo>
                  <a:lnTo>
                    <a:pt x="31" y="276"/>
                  </a:lnTo>
                  <a:lnTo>
                    <a:pt x="27" y="269"/>
                  </a:lnTo>
                  <a:lnTo>
                    <a:pt x="27" y="263"/>
                  </a:lnTo>
                  <a:lnTo>
                    <a:pt x="27" y="263"/>
                  </a:lnTo>
                  <a:lnTo>
                    <a:pt x="0" y="142"/>
                  </a:lnTo>
                  <a:lnTo>
                    <a:pt x="0" y="142"/>
                  </a:lnTo>
                  <a:lnTo>
                    <a:pt x="0" y="116"/>
                  </a:lnTo>
                  <a:lnTo>
                    <a:pt x="0" y="116"/>
                  </a:lnTo>
                  <a:lnTo>
                    <a:pt x="0" y="14"/>
                  </a:lnTo>
                  <a:lnTo>
                    <a:pt x="0" y="14"/>
                  </a:lnTo>
                  <a:lnTo>
                    <a:pt x="2" y="8"/>
                  </a:lnTo>
                  <a:lnTo>
                    <a:pt x="4" y="4"/>
                  </a:lnTo>
                  <a:lnTo>
                    <a:pt x="10" y="0"/>
                  </a:lnTo>
                  <a:lnTo>
                    <a:pt x="14" y="0"/>
                  </a:lnTo>
                  <a:lnTo>
                    <a:pt x="14" y="0"/>
                  </a:lnTo>
                  <a:lnTo>
                    <a:pt x="91" y="0"/>
                  </a:lnTo>
                  <a:lnTo>
                    <a:pt x="91" y="0"/>
                  </a:lnTo>
                  <a:lnTo>
                    <a:pt x="95" y="0"/>
                  </a:lnTo>
                  <a:lnTo>
                    <a:pt x="99" y="4"/>
                  </a:lnTo>
                  <a:lnTo>
                    <a:pt x="102" y="8"/>
                  </a:lnTo>
                  <a:lnTo>
                    <a:pt x="102" y="14"/>
                  </a:lnTo>
                  <a:lnTo>
                    <a:pt x="102" y="116"/>
                  </a:lnTo>
                  <a:close/>
                  <a:moveTo>
                    <a:pt x="102" y="399"/>
                  </a:moveTo>
                  <a:lnTo>
                    <a:pt x="102" y="399"/>
                  </a:lnTo>
                  <a:lnTo>
                    <a:pt x="102" y="403"/>
                  </a:lnTo>
                  <a:lnTo>
                    <a:pt x="99" y="406"/>
                  </a:lnTo>
                  <a:lnTo>
                    <a:pt x="95" y="410"/>
                  </a:lnTo>
                  <a:lnTo>
                    <a:pt x="91" y="410"/>
                  </a:lnTo>
                  <a:lnTo>
                    <a:pt x="91" y="410"/>
                  </a:lnTo>
                  <a:lnTo>
                    <a:pt x="14" y="410"/>
                  </a:lnTo>
                  <a:lnTo>
                    <a:pt x="14" y="410"/>
                  </a:lnTo>
                  <a:lnTo>
                    <a:pt x="10" y="410"/>
                  </a:lnTo>
                  <a:lnTo>
                    <a:pt x="4" y="406"/>
                  </a:lnTo>
                  <a:lnTo>
                    <a:pt x="2" y="403"/>
                  </a:lnTo>
                  <a:lnTo>
                    <a:pt x="0" y="399"/>
                  </a:lnTo>
                  <a:lnTo>
                    <a:pt x="0" y="399"/>
                  </a:lnTo>
                  <a:lnTo>
                    <a:pt x="0" y="321"/>
                  </a:lnTo>
                  <a:lnTo>
                    <a:pt x="0" y="321"/>
                  </a:lnTo>
                  <a:lnTo>
                    <a:pt x="2" y="316"/>
                  </a:lnTo>
                  <a:lnTo>
                    <a:pt x="4" y="312"/>
                  </a:lnTo>
                  <a:lnTo>
                    <a:pt x="10" y="310"/>
                  </a:lnTo>
                  <a:lnTo>
                    <a:pt x="14" y="308"/>
                  </a:lnTo>
                  <a:lnTo>
                    <a:pt x="14" y="308"/>
                  </a:lnTo>
                  <a:lnTo>
                    <a:pt x="91" y="308"/>
                  </a:lnTo>
                  <a:lnTo>
                    <a:pt x="91" y="308"/>
                  </a:lnTo>
                  <a:lnTo>
                    <a:pt x="95" y="310"/>
                  </a:lnTo>
                  <a:lnTo>
                    <a:pt x="99" y="312"/>
                  </a:lnTo>
                  <a:lnTo>
                    <a:pt x="102" y="316"/>
                  </a:lnTo>
                  <a:lnTo>
                    <a:pt x="102" y="321"/>
                  </a:lnTo>
                  <a:lnTo>
                    <a:pt x="102"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39" name="Freeform 101">
              <a:extLst>
                <a:ext uri="{FF2B5EF4-FFF2-40B4-BE49-F238E27FC236}">
                  <a16:creationId xmlns:a16="http://schemas.microsoft.com/office/drawing/2014/main" id="{A61A3EF0-D890-D028-ADE0-489E3787DC9B}"/>
                </a:ext>
              </a:extLst>
            </p:cNvPr>
            <p:cNvSpPr>
              <a:spLocks noEditPoints="1"/>
            </p:cNvSpPr>
            <p:nvPr/>
          </p:nvSpPr>
          <p:spPr bwMode="auto">
            <a:xfrm>
              <a:off x="18138775" y="3081342"/>
              <a:ext cx="161924" cy="654047"/>
            </a:xfrm>
            <a:custGeom>
              <a:avLst/>
              <a:gdLst>
                <a:gd name="T0" fmla="*/ 102 w 102"/>
                <a:gd name="T1" fmla="*/ 116 h 412"/>
                <a:gd name="T2" fmla="*/ 102 w 102"/>
                <a:gd name="T3" fmla="*/ 142 h 412"/>
                <a:gd name="T4" fmla="*/ 77 w 102"/>
                <a:gd name="T5" fmla="*/ 265 h 412"/>
                <a:gd name="T6" fmla="*/ 74 w 102"/>
                <a:gd name="T7" fmla="*/ 276 h 412"/>
                <a:gd name="T8" fmla="*/ 64 w 102"/>
                <a:gd name="T9" fmla="*/ 284 h 412"/>
                <a:gd name="T10" fmla="*/ 38 w 102"/>
                <a:gd name="T11" fmla="*/ 284 h 412"/>
                <a:gd name="T12" fmla="*/ 34 w 102"/>
                <a:gd name="T13" fmla="*/ 282 h 412"/>
                <a:gd name="T14" fmla="*/ 26 w 102"/>
                <a:gd name="T15" fmla="*/ 270 h 412"/>
                <a:gd name="T16" fmla="*/ 26 w 102"/>
                <a:gd name="T17" fmla="*/ 265 h 412"/>
                <a:gd name="T18" fmla="*/ 0 w 102"/>
                <a:gd name="T19" fmla="*/ 142 h 412"/>
                <a:gd name="T20" fmla="*/ 0 w 102"/>
                <a:gd name="T21" fmla="*/ 116 h 412"/>
                <a:gd name="T22" fmla="*/ 0 w 102"/>
                <a:gd name="T23" fmla="*/ 14 h 412"/>
                <a:gd name="T24" fmla="*/ 4 w 102"/>
                <a:gd name="T25" fmla="*/ 4 h 412"/>
                <a:gd name="T26" fmla="*/ 13 w 102"/>
                <a:gd name="T27" fmla="*/ 0 h 412"/>
                <a:gd name="T28" fmla="*/ 89 w 102"/>
                <a:gd name="T29" fmla="*/ 0 h 412"/>
                <a:gd name="T30" fmla="*/ 94 w 102"/>
                <a:gd name="T31" fmla="*/ 2 h 412"/>
                <a:gd name="T32" fmla="*/ 102 w 102"/>
                <a:gd name="T33" fmla="*/ 8 h 412"/>
                <a:gd name="T34" fmla="*/ 102 w 102"/>
                <a:gd name="T35" fmla="*/ 116 h 412"/>
                <a:gd name="T36" fmla="*/ 102 w 102"/>
                <a:gd name="T37" fmla="*/ 399 h 412"/>
                <a:gd name="T38" fmla="*/ 98 w 102"/>
                <a:gd name="T39" fmla="*/ 408 h 412"/>
                <a:gd name="T40" fmla="*/ 89 w 102"/>
                <a:gd name="T41" fmla="*/ 412 h 412"/>
                <a:gd name="T42" fmla="*/ 13 w 102"/>
                <a:gd name="T43" fmla="*/ 412 h 412"/>
                <a:gd name="T44" fmla="*/ 7 w 102"/>
                <a:gd name="T45" fmla="*/ 410 h 412"/>
                <a:gd name="T46" fmla="*/ 2 w 102"/>
                <a:gd name="T47" fmla="*/ 403 h 412"/>
                <a:gd name="T48" fmla="*/ 0 w 102"/>
                <a:gd name="T49" fmla="*/ 399 h 412"/>
                <a:gd name="T50" fmla="*/ 0 w 102"/>
                <a:gd name="T51" fmla="*/ 321 h 412"/>
                <a:gd name="T52" fmla="*/ 4 w 102"/>
                <a:gd name="T53" fmla="*/ 312 h 412"/>
                <a:gd name="T54" fmla="*/ 13 w 102"/>
                <a:gd name="T55" fmla="*/ 308 h 412"/>
                <a:gd name="T56" fmla="*/ 89 w 102"/>
                <a:gd name="T57" fmla="*/ 308 h 412"/>
                <a:gd name="T58" fmla="*/ 94 w 102"/>
                <a:gd name="T59" fmla="*/ 310 h 412"/>
                <a:gd name="T60" fmla="*/ 102 w 102"/>
                <a:gd name="T61" fmla="*/ 318 h 412"/>
                <a:gd name="T62" fmla="*/ 102 w 102"/>
                <a:gd name="T63" fmla="*/ 399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412">
                  <a:moveTo>
                    <a:pt x="102" y="116"/>
                  </a:moveTo>
                  <a:lnTo>
                    <a:pt x="102" y="116"/>
                  </a:lnTo>
                  <a:lnTo>
                    <a:pt x="102" y="142"/>
                  </a:lnTo>
                  <a:lnTo>
                    <a:pt x="102" y="142"/>
                  </a:lnTo>
                  <a:lnTo>
                    <a:pt x="77" y="265"/>
                  </a:lnTo>
                  <a:lnTo>
                    <a:pt x="77" y="265"/>
                  </a:lnTo>
                  <a:lnTo>
                    <a:pt x="75" y="270"/>
                  </a:lnTo>
                  <a:lnTo>
                    <a:pt x="74" y="276"/>
                  </a:lnTo>
                  <a:lnTo>
                    <a:pt x="68" y="282"/>
                  </a:lnTo>
                  <a:lnTo>
                    <a:pt x="64" y="284"/>
                  </a:lnTo>
                  <a:lnTo>
                    <a:pt x="64" y="284"/>
                  </a:lnTo>
                  <a:lnTo>
                    <a:pt x="38" y="284"/>
                  </a:lnTo>
                  <a:lnTo>
                    <a:pt x="38" y="284"/>
                  </a:lnTo>
                  <a:lnTo>
                    <a:pt x="34" y="282"/>
                  </a:lnTo>
                  <a:lnTo>
                    <a:pt x="30" y="276"/>
                  </a:lnTo>
                  <a:lnTo>
                    <a:pt x="26" y="270"/>
                  </a:lnTo>
                  <a:lnTo>
                    <a:pt x="26" y="265"/>
                  </a:lnTo>
                  <a:lnTo>
                    <a:pt x="26" y="265"/>
                  </a:lnTo>
                  <a:lnTo>
                    <a:pt x="0" y="142"/>
                  </a:lnTo>
                  <a:lnTo>
                    <a:pt x="0" y="142"/>
                  </a:lnTo>
                  <a:lnTo>
                    <a:pt x="0" y="116"/>
                  </a:lnTo>
                  <a:lnTo>
                    <a:pt x="0" y="116"/>
                  </a:lnTo>
                  <a:lnTo>
                    <a:pt x="0" y="14"/>
                  </a:lnTo>
                  <a:lnTo>
                    <a:pt x="0" y="14"/>
                  </a:lnTo>
                  <a:lnTo>
                    <a:pt x="2" y="8"/>
                  </a:lnTo>
                  <a:lnTo>
                    <a:pt x="4" y="4"/>
                  </a:lnTo>
                  <a:lnTo>
                    <a:pt x="7" y="2"/>
                  </a:lnTo>
                  <a:lnTo>
                    <a:pt x="13" y="0"/>
                  </a:lnTo>
                  <a:lnTo>
                    <a:pt x="13" y="0"/>
                  </a:lnTo>
                  <a:lnTo>
                    <a:pt x="89" y="0"/>
                  </a:lnTo>
                  <a:lnTo>
                    <a:pt x="89" y="0"/>
                  </a:lnTo>
                  <a:lnTo>
                    <a:pt x="94" y="2"/>
                  </a:lnTo>
                  <a:lnTo>
                    <a:pt x="98" y="4"/>
                  </a:lnTo>
                  <a:lnTo>
                    <a:pt x="102" y="8"/>
                  </a:lnTo>
                  <a:lnTo>
                    <a:pt x="102" y="14"/>
                  </a:lnTo>
                  <a:lnTo>
                    <a:pt x="102" y="116"/>
                  </a:lnTo>
                  <a:close/>
                  <a:moveTo>
                    <a:pt x="102" y="399"/>
                  </a:moveTo>
                  <a:lnTo>
                    <a:pt x="102" y="399"/>
                  </a:lnTo>
                  <a:lnTo>
                    <a:pt x="102" y="403"/>
                  </a:lnTo>
                  <a:lnTo>
                    <a:pt x="98" y="408"/>
                  </a:lnTo>
                  <a:lnTo>
                    <a:pt x="94" y="410"/>
                  </a:lnTo>
                  <a:lnTo>
                    <a:pt x="89" y="412"/>
                  </a:lnTo>
                  <a:lnTo>
                    <a:pt x="89" y="412"/>
                  </a:lnTo>
                  <a:lnTo>
                    <a:pt x="13" y="412"/>
                  </a:lnTo>
                  <a:lnTo>
                    <a:pt x="13" y="412"/>
                  </a:lnTo>
                  <a:lnTo>
                    <a:pt x="7" y="410"/>
                  </a:lnTo>
                  <a:lnTo>
                    <a:pt x="4" y="408"/>
                  </a:lnTo>
                  <a:lnTo>
                    <a:pt x="2" y="403"/>
                  </a:lnTo>
                  <a:lnTo>
                    <a:pt x="0" y="399"/>
                  </a:lnTo>
                  <a:lnTo>
                    <a:pt x="0" y="399"/>
                  </a:lnTo>
                  <a:lnTo>
                    <a:pt x="0" y="321"/>
                  </a:lnTo>
                  <a:lnTo>
                    <a:pt x="0" y="321"/>
                  </a:lnTo>
                  <a:lnTo>
                    <a:pt x="2" y="318"/>
                  </a:lnTo>
                  <a:lnTo>
                    <a:pt x="4" y="312"/>
                  </a:lnTo>
                  <a:lnTo>
                    <a:pt x="7" y="310"/>
                  </a:lnTo>
                  <a:lnTo>
                    <a:pt x="13" y="308"/>
                  </a:lnTo>
                  <a:lnTo>
                    <a:pt x="13" y="308"/>
                  </a:lnTo>
                  <a:lnTo>
                    <a:pt x="89" y="308"/>
                  </a:lnTo>
                  <a:lnTo>
                    <a:pt x="89" y="308"/>
                  </a:lnTo>
                  <a:lnTo>
                    <a:pt x="94" y="310"/>
                  </a:lnTo>
                  <a:lnTo>
                    <a:pt x="98" y="312"/>
                  </a:lnTo>
                  <a:lnTo>
                    <a:pt x="102" y="318"/>
                  </a:lnTo>
                  <a:lnTo>
                    <a:pt x="102" y="321"/>
                  </a:lnTo>
                  <a:lnTo>
                    <a:pt x="102"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40" name="Freeform 102">
              <a:extLst>
                <a:ext uri="{FF2B5EF4-FFF2-40B4-BE49-F238E27FC236}">
                  <a16:creationId xmlns:a16="http://schemas.microsoft.com/office/drawing/2014/main" id="{0F6F4E93-175D-B45E-77D9-63C522818037}"/>
                </a:ext>
              </a:extLst>
            </p:cNvPr>
            <p:cNvSpPr>
              <a:spLocks noEditPoints="1"/>
            </p:cNvSpPr>
            <p:nvPr/>
          </p:nvSpPr>
          <p:spPr bwMode="auto">
            <a:xfrm>
              <a:off x="11668127" y="2455866"/>
              <a:ext cx="161924" cy="652459"/>
            </a:xfrm>
            <a:custGeom>
              <a:avLst/>
              <a:gdLst>
                <a:gd name="T0" fmla="*/ 102 w 102"/>
                <a:gd name="T1" fmla="*/ 115 h 411"/>
                <a:gd name="T2" fmla="*/ 102 w 102"/>
                <a:gd name="T3" fmla="*/ 141 h 411"/>
                <a:gd name="T4" fmla="*/ 78 w 102"/>
                <a:gd name="T5" fmla="*/ 262 h 411"/>
                <a:gd name="T6" fmla="*/ 74 w 102"/>
                <a:gd name="T7" fmla="*/ 275 h 411"/>
                <a:gd name="T8" fmla="*/ 64 w 102"/>
                <a:gd name="T9" fmla="*/ 283 h 411"/>
                <a:gd name="T10" fmla="*/ 40 w 102"/>
                <a:gd name="T11" fmla="*/ 283 h 411"/>
                <a:gd name="T12" fmla="*/ 34 w 102"/>
                <a:gd name="T13" fmla="*/ 281 h 411"/>
                <a:gd name="T14" fmla="*/ 27 w 102"/>
                <a:gd name="T15" fmla="*/ 268 h 411"/>
                <a:gd name="T16" fmla="*/ 27 w 102"/>
                <a:gd name="T17" fmla="*/ 262 h 411"/>
                <a:gd name="T18" fmla="*/ 0 w 102"/>
                <a:gd name="T19" fmla="*/ 141 h 411"/>
                <a:gd name="T20" fmla="*/ 0 w 102"/>
                <a:gd name="T21" fmla="*/ 115 h 411"/>
                <a:gd name="T22" fmla="*/ 0 w 102"/>
                <a:gd name="T23" fmla="*/ 13 h 411"/>
                <a:gd name="T24" fmla="*/ 4 w 102"/>
                <a:gd name="T25" fmla="*/ 3 h 411"/>
                <a:gd name="T26" fmla="*/ 13 w 102"/>
                <a:gd name="T27" fmla="*/ 0 h 411"/>
                <a:gd name="T28" fmla="*/ 91 w 102"/>
                <a:gd name="T29" fmla="*/ 0 h 411"/>
                <a:gd name="T30" fmla="*/ 95 w 102"/>
                <a:gd name="T31" fmla="*/ 1 h 411"/>
                <a:gd name="T32" fmla="*/ 102 w 102"/>
                <a:gd name="T33" fmla="*/ 7 h 411"/>
                <a:gd name="T34" fmla="*/ 102 w 102"/>
                <a:gd name="T35" fmla="*/ 115 h 411"/>
                <a:gd name="T36" fmla="*/ 102 w 102"/>
                <a:gd name="T37" fmla="*/ 398 h 411"/>
                <a:gd name="T38" fmla="*/ 98 w 102"/>
                <a:gd name="T39" fmla="*/ 406 h 411"/>
                <a:gd name="T40" fmla="*/ 91 w 102"/>
                <a:gd name="T41" fmla="*/ 411 h 411"/>
                <a:gd name="T42" fmla="*/ 13 w 102"/>
                <a:gd name="T43" fmla="*/ 411 h 411"/>
                <a:gd name="T44" fmla="*/ 8 w 102"/>
                <a:gd name="T45" fmla="*/ 409 h 411"/>
                <a:gd name="T46" fmla="*/ 2 w 102"/>
                <a:gd name="T47" fmla="*/ 402 h 411"/>
                <a:gd name="T48" fmla="*/ 0 w 102"/>
                <a:gd name="T49" fmla="*/ 398 h 411"/>
                <a:gd name="T50" fmla="*/ 0 w 102"/>
                <a:gd name="T51" fmla="*/ 321 h 411"/>
                <a:gd name="T52" fmla="*/ 4 w 102"/>
                <a:gd name="T53" fmla="*/ 311 h 411"/>
                <a:gd name="T54" fmla="*/ 13 w 102"/>
                <a:gd name="T55" fmla="*/ 307 h 411"/>
                <a:gd name="T56" fmla="*/ 91 w 102"/>
                <a:gd name="T57" fmla="*/ 307 h 411"/>
                <a:gd name="T58" fmla="*/ 95 w 102"/>
                <a:gd name="T59" fmla="*/ 309 h 411"/>
                <a:gd name="T60" fmla="*/ 102 w 102"/>
                <a:gd name="T61" fmla="*/ 317 h 411"/>
                <a:gd name="T62" fmla="*/ 102 w 102"/>
                <a:gd name="T63" fmla="*/ 398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411">
                  <a:moveTo>
                    <a:pt x="102" y="115"/>
                  </a:moveTo>
                  <a:lnTo>
                    <a:pt x="102" y="115"/>
                  </a:lnTo>
                  <a:lnTo>
                    <a:pt x="102" y="141"/>
                  </a:lnTo>
                  <a:lnTo>
                    <a:pt x="102" y="141"/>
                  </a:lnTo>
                  <a:lnTo>
                    <a:pt x="78" y="262"/>
                  </a:lnTo>
                  <a:lnTo>
                    <a:pt x="78" y="262"/>
                  </a:lnTo>
                  <a:lnTo>
                    <a:pt x="76" y="268"/>
                  </a:lnTo>
                  <a:lnTo>
                    <a:pt x="74" y="275"/>
                  </a:lnTo>
                  <a:lnTo>
                    <a:pt x="70" y="281"/>
                  </a:lnTo>
                  <a:lnTo>
                    <a:pt x="64" y="283"/>
                  </a:lnTo>
                  <a:lnTo>
                    <a:pt x="64" y="283"/>
                  </a:lnTo>
                  <a:lnTo>
                    <a:pt x="40" y="283"/>
                  </a:lnTo>
                  <a:lnTo>
                    <a:pt x="40" y="283"/>
                  </a:lnTo>
                  <a:lnTo>
                    <a:pt x="34" y="281"/>
                  </a:lnTo>
                  <a:lnTo>
                    <a:pt x="30" y="275"/>
                  </a:lnTo>
                  <a:lnTo>
                    <a:pt x="27" y="268"/>
                  </a:lnTo>
                  <a:lnTo>
                    <a:pt x="27" y="262"/>
                  </a:lnTo>
                  <a:lnTo>
                    <a:pt x="27" y="262"/>
                  </a:lnTo>
                  <a:lnTo>
                    <a:pt x="0" y="141"/>
                  </a:lnTo>
                  <a:lnTo>
                    <a:pt x="0" y="141"/>
                  </a:lnTo>
                  <a:lnTo>
                    <a:pt x="0" y="115"/>
                  </a:lnTo>
                  <a:lnTo>
                    <a:pt x="0" y="115"/>
                  </a:lnTo>
                  <a:lnTo>
                    <a:pt x="0" y="13"/>
                  </a:lnTo>
                  <a:lnTo>
                    <a:pt x="0" y="13"/>
                  </a:lnTo>
                  <a:lnTo>
                    <a:pt x="2" y="7"/>
                  </a:lnTo>
                  <a:lnTo>
                    <a:pt x="4" y="3"/>
                  </a:lnTo>
                  <a:lnTo>
                    <a:pt x="8" y="1"/>
                  </a:lnTo>
                  <a:lnTo>
                    <a:pt x="13" y="0"/>
                  </a:lnTo>
                  <a:lnTo>
                    <a:pt x="13" y="0"/>
                  </a:lnTo>
                  <a:lnTo>
                    <a:pt x="91" y="0"/>
                  </a:lnTo>
                  <a:lnTo>
                    <a:pt x="91" y="0"/>
                  </a:lnTo>
                  <a:lnTo>
                    <a:pt x="95" y="1"/>
                  </a:lnTo>
                  <a:lnTo>
                    <a:pt x="98" y="3"/>
                  </a:lnTo>
                  <a:lnTo>
                    <a:pt x="102" y="7"/>
                  </a:lnTo>
                  <a:lnTo>
                    <a:pt x="102" y="13"/>
                  </a:lnTo>
                  <a:lnTo>
                    <a:pt x="102" y="115"/>
                  </a:lnTo>
                  <a:close/>
                  <a:moveTo>
                    <a:pt x="102" y="398"/>
                  </a:moveTo>
                  <a:lnTo>
                    <a:pt x="102" y="398"/>
                  </a:lnTo>
                  <a:lnTo>
                    <a:pt x="102" y="402"/>
                  </a:lnTo>
                  <a:lnTo>
                    <a:pt x="98" y="406"/>
                  </a:lnTo>
                  <a:lnTo>
                    <a:pt x="95" y="409"/>
                  </a:lnTo>
                  <a:lnTo>
                    <a:pt x="91" y="411"/>
                  </a:lnTo>
                  <a:lnTo>
                    <a:pt x="91" y="411"/>
                  </a:lnTo>
                  <a:lnTo>
                    <a:pt x="13" y="411"/>
                  </a:lnTo>
                  <a:lnTo>
                    <a:pt x="13" y="411"/>
                  </a:lnTo>
                  <a:lnTo>
                    <a:pt x="8" y="409"/>
                  </a:lnTo>
                  <a:lnTo>
                    <a:pt x="4" y="406"/>
                  </a:lnTo>
                  <a:lnTo>
                    <a:pt x="2" y="402"/>
                  </a:lnTo>
                  <a:lnTo>
                    <a:pt x="0" y="398"/>
                  </a:lnTo>
                  <a:lnTo>
                    <a:pt x="0" y="398"/>
                  </a:lnTo>
                  <a:lnTo>
                    <a:pt x="0" y="321"/>
                  </a:lnTo>
                  <a:lnTo>
                    <a:pt x="0" y="321"/>
                  </a:lnTo>
                  <a:lnTo>
                    <a:pt x="2" y="317"/>
                  </a:lnTo>
                  <a:lnTo>
                    <a:pt x="4" y="311"/>
                  </a:lnTo>
                  <a:lnTo>
                    <a:pt x="8" y="309"/>
                  </a:lnTo>
                  <a:lnTo>
                    <a:pt x="13" y="307"/>
                  </a:lnTo>
                  <a:lnTo>
                    <a:pt x="13" y="307"/>
                  </a:lnTo>
                  <a:lnTo>
                    <a:pt x="91" y="307"/>
                  </a:lnTo>
                  <a:lnTo>
                    <a:pt x="91" y="307"/>
                  </a:lnTo>
                  <a:lnTo>
                    <a:pt x="95" y="309"/>
                  </a:lnTo>
                  <a:lnTo>
                    <a:pt x="98" y="311"/>
                  </a:lnTo>
                  <a:lnTo>
                    <a:pt x="102" y="317"/>
                  </a:lnTo>
                  <a:lnTo>
                    <a:pt x="102" y="321"/>
                  </a:lnTo>
                  <a:lnTo>
                    <a:pt x="102"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41" name="Freeform 103">
              <a:extLst>
                <a:ext uri="{FF2B5EF4-FFF2-40B4-BE49-F238E27FC236}">
                  <a16:creationId xmlns:a16="http://schemas.microsoft.com/office/drawing/2014/main" id="{D2B2754A-AAF4-8154-26F9-ED87D7D0A0AA}"/>
                </a:ext>
              </a:extLst>
            </p:cNvPr>
            <p:cNvSpPr>
              <a:spLocks noEditPoints="1"/>
            </p:cNvSpPr>
            <p:nvPr/>
          </p:nvSpPr>
          <p:spPr bwMode="auto">
            <a:xfrm>
              <a:off x="11080750" y="3078166"/>
              <a:ext cx="161924" cy="654047"/>
            </a:xfrm>
            <a:custGeom>
              <a:avLst/>
              <a:gdLst>
                <a:gd name="T0" fmla="*/ 102 w 102"/>
                <a:gd name="T1" fmla="*/ 116 h 412"/>
                <a:gd name="T2" fmla="*/ 102 w 102"/>
                <a:gd name="T3" fmla="*/ 142 h 412"/>
                <a:gd name="T4" fmla="*/ 77 w 102"/>
                <a:gd name="T5" fmla="*/ 263 h 412"/>
                <a:gd name="T6" fmla="*/ 72 w 102"/>
                <a:gd name="T7" fmla="*/ 276 h 412"/>
                <a:gd name="T8" fmla="*/ 64 w 102"/>
                <a:gd name="T9" fmla="*/ 284 h 412"/>
                <a:gd name="T10" fmla="*/ 38 w 102"/>
                <a:gd name="T11" fmla="*/ 284 h 412"/>
                <a:gd name="T12" fmla="*/ 34 w 102"/>
                <a:gd name="T13" fmla="*/ 282 h 412"/>
                <a:gd name="T14" fmla="*/ 26 w 102"/>
                <a:gd name="T15" fmla="*/ 269 h 412"/>
                <a:gd name="T16" fmla="*/ 26 w 102"/>
                <a:gd name="T17" fmla="*/ 263 h 412"/>
                <a:gd name="T18" fmla="*/ 0 w 102"/>
                <a:gd name="T19" fmla="*/ 142 h 412"/>
                <a:gd name="T20" fmla="*/ 0 w 102"/>
                <a:gd name="T21" fmla="*/ 116 h 412"/>
                <a:gd name="T22" fmla="*/ 0 w 102"/>
                <a:gd name="T23" fmla="*/ 14 h 412"/>
                <a:gd name="T24" fmla="*/ 4 w 102"/>
                <a:gd name="T25" fmla="*/ 4 h 412"/>
                <a:gd name="T26" fmla="*/ 13 w 102"/>
                <a:gd name="T27" fmla="*/ 0 h 412"/>
                <a:gd name="T28" fmla="*/ 89 w 102"/>
                <a:gd name="T29" fmla="*/ 0 h 412"/>
                <a:gd name="T30" fmla="*/ 94 w 102"/>
                <a:gd name="T31" fmla="*/ 2 h 412"/>
                <a:gd name="T32" fmla="*/ 102 w 102"/>
                <a:gd name="T33" fmla="*/ 8 h 412"/>
                <a:gd name="T34" fmla="*/ 102 w 102"/>
                <a:gd name="T35" fmla="*/ 116 h 412"/>
                <a:gd name="T36" fmla="*/ 102 w 102"/>
                <a:gd name="T37" fmla="*/ 399 h 412"/>
                <a:gd name="T38" fmla="*/ 98 w 102"/>
                <a:gd name="T39" fmla="*/ 407 h 412"/>
                <a:gd name="T40" fmla="*/ 89 w 102"/>
                <a:gd name="T41" fmla="*/ 412 h 412"/>
                <a:gd name="T42" fmla="*/ 13 w 102"/>
                <a:gd name="T43" fmla="*/ 412 h 412"/>
                <a:gd name="T44" fmla="*/ 8 w 102"/>
                <a:gd name="T45" fmla="*/ 410 h 412"/>
                <a:gd name="T46" fmla="*/ 2 w 102"/>
                <a:gd name="T47" fmla="*/ 403 h 412"/>
                <a:gd name="T48" fmla="*/ 0 w 102"/>
                <a:gd name="T49" fmla="*/ 399 h 412"/>
                <a:gd name="T50" fmla="*/ 0 w 102"/>
                <a:gd name="T51" fmla="*/ 322 h 412"/>
                <a:gd name="T52" fmla="*/ 4 w 102"/>
                <a:gd name="T53" fmla="*/ 312 h 412"/>
                <a:gd name="T54" fmla="*/ 13 w 102"/>
                <a:gd name="T55" fmla="*/ 308 h 412"/>
                <a:gd name="T56" fmla="*/ 89 w 102"/>
                <a:gd name="T57" fmla="*/ 308 h 412"/>
                <a:gd name="T58" fmla="*/ 94 w 102"/>
                <a:gd name="T59" fmla="*/ 310 h 412"/>
                <a:gd name="T60" fmla="*/ 102 w 102"/>
                <a:gd name="T61" fmla="*/ 318 h 412"/>
                <a:gd name="T62" fmla="*/ 102 w 102"/>
                <a:gd name="T63" fmla="*/ 399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412">
                  <a:moveTo>
                    <a:pt x="102" y="116"/>
                  </a:moveTo>
                  <a:lnTo>
                    <a:pt x="102" y="116"/>
                  </a:lnTo>
                  <a:lnTo>
                    <a:pt x="102" y="142"/>
                  </a:lnTo>
                  <a:lnTo>
                    <a:pt x="102" y="142"/>
                  </a:lnTo>
                  <a:lnTo>
                    <a:pt x="77" y="263"/>
                  </a:lnTo>
                  <a:lnTo>
                    <a:pt x="77" y="263"/>
                  </a:lnTo>
                  <a:lnTo>
                    <a:pt x="76" y="269"/>
                  </a:lnTo>
                  <a:lnTo>
                    <a:pt x="72" y="276"/>
                  </a:lnTo>
                  <a:lnTo>
                    <a:pt x="68" y="282"/>
                  </a:lnTo>
                  <a:lnTo>
                    <a:pt x="64" y="284"/>
                  </a:lnTo>
                  <a:lnTo>
                    <a:pt x="64" y="284"/>
                  </a:lnTo>
                  <a:lnTo>
                    <a:pt x="38" y="284"/>
                  </a:lnTo>
                  <a:lnTo>
                    <a:pt x="38" y="284"/>
                  </a:lnTo>
                  <a:lnTo>
                    <a:pt x="34" y="282"/>
                  </a:lnTo>
                  <a:lnTo>
                    <a:pt x="30" y="276"/>
                  </a:lnTo>
                  <a:lnTo>
                    <a:pt x="26" y="269"/>
                  </a:lnTo>
                  <a:lnTo>
                    <a:pt x="26" y="263"/>
                  </a:lnTo>
                  <a:lnTo>
                    <a:pt x="26" y="263"/>
                  </a:lnTo>
                  <a:lnTo>
                    <a:pt x="0" y="142"/>
                  </a:lnTo>
                  <a:lnTo>
                    <a:pt x="0" y="142"/>
                  </a:lnTo>
                  <a:lnTo>
                    <a:pt x="0" y="116"/>
                  </a:lnTo>
                  <a:lnTo>
                    <a:pt x="0" y="116"/>
                  </a:lnTo>
                  <a:lnTo>
                    <a:pt x="0" y="14"/>
                  </a:lnTo>
                  <a:lnTo>
                    <a:pt x="0" y="14"/>
                  </a:lnTo>
                  <a:lnTo>
                    <a:pt x="2" y="8"/>
                  </a:lnTo>
                  <a:lnTo>
                    <a:pt x="4" y="4"/>
                  </a:lnTo>
                  <a:lnTo>
                    <a:pt x="8" y="2"/>
                  </a:lnTo>
                  <a:lnTo>
                    <a:pt x="13" y="0"/>
                  </a:lnTo>
                  <a:lnTo>
                    <a:pt x="13" y="0"/>
                  </a:lnTo>
                  <a:lnTo>
                    <a:pt x="89" y="0"/>
                  </a:lnTo>
                  <a:lnTo>
                    <a:pt x="89" y="0"/>
                  </a:lnTo>
                  <a:lnTo>
                    <a:pt x="94" y="2"/>
                  </a:lnTo>
                  <a:lnTo>
                    <a:pt x="98" y="4"/>
                  </a:lnTo>
                  <a:lnTo>
                    <a:pt x="102" y="8"/>
                  </a:lnTo>
                  <a:lnTo>
                    <a:pt x="102" y="14"/>
                  </a:lnTo>
                  <a:lnTo>
                    <a:pt x="102" y="116"/>
                  </a:lnTo>
                  <a:close/>
                  <a:moveTo>
                    <a:pt x="102" y="399"/>
                  </a:moveTo>
                  <a:lnTo>
                    <a:pt x="102" y="399"/>
                  </a:lnTo>
                  <a:lnTo>
                    <a:pt x="102" y="403"/>
                  </a:lnTo>
                  <a:lnTo>
                    <a:pt x="98" y="407"/>
                  </a:lnTo>
                  <a:lnTo>
                    <a:pt x="94" y="410"/>
                  </a:lnTo>
                  <a:lnTo>
                    <a:pt x="89" y="412"/>
                  </a:lnTo>
                  <a:lnTo>
                    <a:pt x="89" y="412"/>
                  </a:lnTo>
                  <a:lnTo>
                    <a:pt x="13" y="412"/>
                  </a:lnTo>
                  <a:lnTo>
                    <a:pt x="13" y="412"/>
                  </a:lnTo>
                  <a:lnTo>
                    <a:pt x="8" y="410"/>
                  </a:lnTo>
                  <a:lnTo>
                    <a:pt x="4" y="407"/>
                  </a:lnTo>
                  <a:lnTo>
                    <a:pt x="2" y="403"/>
                  </a:lnTo>
                  <a:lnTo>
                    <a:pt x="0" y="399"/>
                  </a:lnTo>
                  <a:lnTo>
                    <a:pt x="0" y="399"/>
                  </a:lnTo>
                  <a:lnTo>
                    <a:pt x="0" y="322"/>
                  </a:lnTo>
                  <a:lnTo>
                    <a:pt x="0" y="322"/>
                  </a:lnTo>
                  <a:lnTo>
                    <a:pt x="2" y="318"/>
                  </a:lnTo>
                  <a:lnTo>
                    <a:pt x="4" y="312"/>
                  </a:lnTo>
                  <a:lnTo>
                    <a:pt x="8" y="310"/>
                  </a:lnTo>
                  <a:lnTo>
                    <a:pt x="13" y="308"/>
                  </a:lnTo>
                  <a:lnTo>
                    <a:pt x="13" y="308"/>
                  </a:lnTo>
                  <a:lnTo>
                    <a:pt x="89" y="308"/>
                  </a:lnTo>
                  <a:lnTo>
                    <a:pt x="89" y="308"/>
                  </a:lnTo>
                  <a:lnTo>
                    <a:pt x="94" y="310"/>
                  </a:lnTo>
                  <a:lnTo>
                    <a:pt x="98" y="312"/>
                  </a:lnTo>
                  <a:lnTo>
                    <a:pt x="102" y="318"/>
                  </a:lnTo>
                  <a:lnTo>
                    <a:pt x="102" y="322"/>
                  </a:lnTo>
                  <a:lnTo>
                    <a:pt x="102"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42" name="Freeform 104">
              <a:extLst>
                <a:ext uri="{FF2B5EF4-FFF2-40B4-BE49-F238E27FC236}">
                  <a16:creationId xmlns:a16="http://schemas.microsoft.com/office/drawing/2014/main" id="{ABEEF27A-1F4E-7D2D-EF0A-6CA36D205B8B}"/>
                </a:ext>
              </a:extLst>
            </p:cNvPr>
            <p:cNvSpPr>
              <a:spLocks/>
            </p:cNvSpPr>
            <p:nvPr/>
          </p:nvSpPr>
          <p:spPr bwMode="auto">
            <a:xfrm>
              <a:off x="12123739" y="2784478"/>
              <a:ext cx="1076324" cy="1689097"/>
            </a:xfrm>
            <a:custGeom>
              <a:avLst/>
              <a:gdLst>
                <a:gd name="T0" fmla="*/ 74 w 678"/>
                <a:gd name="T1" fmla="*/ 321 h 1064"/>
                <a:gd name="T2" fmla="*/ 149 w 678"/>
                <a:gd name="T3" fmla="*/ 371 h 1064"/>
                <a:gd name="T4" fmla="*/ 168 w 678"/>
                <a:gd name="T5" fmla="*/ 403 h 1064"/>
                <a:gd name="T6" fmla="*/ 168 w 678"/>
                <a:gd name="T7" fmla="*/ 461 h 1064"/>
                <a:gd name="T8" fmla="*/ 182 w 678"/>
                <a:gd name="T9" fmla="*/ 518 h 1064"/>
                <a:gd name="T10" fmla="*/ 183 w 678"/>
                <a:gd name="T11" fmla="*/ 658 h 1064"/>
                <a:gd name="T12" fmla="*/ 159 w 678"/>
                <a:gd name="T13" fmla="*/ 771 h 1064"/>
                <a:gd name="T14" fmla="*/ 231 w 678"/>
                <a:gd name="T15" fmla="*/ 797 h 1064"/>
                <a:gd name="T16" fmla="*/ 285 w 678"/>
                <a:gd name="T17" fmla="*/ 832 h 1064"/>
                <a:gd name="T18" fmla="*/ 393 w 678"/>
                <a:gd name="T19" fmla="*/ 956 h 1064"/>
                <a:gd name="T20" fmla="*/ 433 w 678"/>
                <a:gd name="T21" fmla="*/ 1064 h 1064"/>
                <a:gd name="T22" fmla="*/ 675 w 678"/>
                <a:gd name="T23" fmla="*/ 737 h 1064"/>
                <a:gd name="T24" fmla="*/ 650 w 678"/>
                <a:gd name="T25" fmla="*/ 665 h 1064"/>
                <a:gd name="T26" fmla="*/ 576 w 678"/>
                <a:gd name="T27" fmla="*/ 563 h 1064"/>
                <a:gd name="T28" fmla="*/ 512 w 678"/>
                <a:gd name="T29" fmla="*/ 512 h 1064"/>
                <a:gd name="T30" fmla="*/ 463 w 678"/>
                <a:gd name="T31" fmla="*/ 490 h 1064"/>
                <a:gd name="T32" fmla="*/ 376 w 678"/>
                <a:gd name="T33" fmla="*/ 471 h 1064"/>
                <a:gd name="T34" fmla="*/ 410 w 678"/>
                <a:gd name="T35" fmla="*/ 412 h 1064"/>
                <a:gd name="T36" fmla="*/ 427 w 678"/>
                <a:gd name="T37" fmla="*/ 327 h 1064"/>
                <a:gd name="T38" fmla="*/ 425 w 678"/>
                <a:gd name="T39" fmla="*/ 187 h 1064"/>
                <a:gd name="T40" fmla="*/ 410 w 678"/>
                <a:gd name="T41" fmla="*/ 133 h 1064"/>
                <a:gd name="T42" fmla="*/ 412 w 678"/>
                <a:gd name="T43" fmla="*/ 85 h 1064"/>
                <a:gd name="T44" fmla="*/ 384 w 678"/>
                <a:gd name="T45" fmla="*/ 49 h 1064"/>
                <a:gd name="T46" fmla="*/ 291 w 678"/>
                <a:gd name="T47" fmla="*/ 14 h 1064"/>
                <a:gd name="T48" fmla="*/ 244 w 678"/>
                <a:gd name="T49" fmla="*/ 6 h 1064"/>
                <a:gd name="T50" fmla="*/ 210 w 678"/>
                <a:gd name="T51" fmla="*/ 2 h 1064"/>
                <a:gd name="T52" fmla="*/ 174 w 678"/>
                <a:gd name="T53" fmla="*/ 2 h 1064"/>
                <a:gd name="T54" fmla="*/ 148 w 678"/>
                <a:gd name="T55" fmla="*/ 4 h 1064"/>
                <a:gd name="T56" fmla="*/ 127 w 678"/>
                <a:gd name="T57" fmla="*/ 8 h 1064"/>
                <a:gd name="T58" fmla="*/ 108 w 678"/>
                <a:gd name="T59" fmla="*/ 12 h 1064"/>
                <a:gd name="T60" fmla="*/ 91 w 678"/>
                <a:gd name="T61" fmla="*/ 19 h 1064"/>
                <a:gd name="T62" fmla="*/ 78 w 678"/>
                <a:gd name="T63" fmla="*/ 29 h 1064"/>
                <a:gd name="T64" fmla="*/ 68 w 678"/>
                <a:gd name="T65" fmla="*/ 36 h 1064"/>
                <a:gd name="T66" fmla="*/ 61 w 678"/>
                <a:gd name="T67" fmla="*/ 44 h 1064"/>
                <a:gd name="T68" fmla="*/ 55 w 678"/>
                <a:gd name="T69" fmla="*/ 53 h 1064"/>
                <a:gd name="T70" fmla="*/ 51 w 678"/>
                <a:gd name="T71" fmla="*/ 61 h 1064"/>
                <a:gd name="T72" fmla="*/ 49 w 678"/>
                <a:gd name="T73" fmla="*/ 68 h 1064"/>
                <a:gd name="T74" fmla="*/ 47 w 678"/>
                <a:gd name="T75" fmla="*/ 72 h 1064"/>
                <a:gd name="T76" fmla="*/ 47 w 678"/>
                <a:gd name="T77" fmla="*/ 76 h 1064"/>
                <a:gd name="T78" fmla="*/ 47 w 678"/>
                <a:gd name="T79" fmla="*/ 76 h 1064"/>
                <a:gd name="T80" fmla="*/ 44 w 678"/>
                <a:gd name="T81" fmla="*/ 78 h 1064"/>
                <a:gd name="T82" fmla="*/ 38 w 678"/>
                <a:gd name="T83" fmla="*/ 78 h 1064"/>
                <a:gd name="T84" fmla="*/ 32 w 678"/>
                <a:gd name="T85" fmla="*/ 82 h 1064"/>
                <a:gd name="T86" fmla="*/ 25 w 678"/>
                <a:gd name="T87" fmla="*/ 87 h 1064"/>
                <a:gd name="T88" fmla="*/ 19 w 678"/>
                <a:gd name="T89" fmla="*/ 99 h 1064"/>
                <a:gd name="T90" fmla="*/ 12 w 678"/>
                <a:gd name="T91" fmla="*/ 112 h 1064"/>
                <a:gd name="T92" fmla="*/ 4 w 678"/>
                <a:gd name="T93" fmla="*/ 138 h 1064"/>
                <a:gd name="T94" fmla="*/ 0 w 678"/>
                <a:gd name="T95" fmla="*/ 261 h 1064"/>
                <a:gd name="T96" fmla="*/ 17 w 678"/>
                <a:gd name="T97" fmla="*/ 304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8" h="1064">
                  <a:moveTo>
                    <a:pt x="17" y="304"/>
                  </a:moveTo>
                  <a:lnTo>
                    <a:pt x="17" y="304"/>
                  </a:lnTo>
                  <a:lnTo>
                    <a:pt x="53" y="314"/>
                  </a:lnTo>
                  <a:lnTo>
                    <a:pt x="74" y="321"/>
                  </a:lnTo>
                  <a:lnTo>
                    <a:pt x="95" y="329"/>
                  </a:lnTo>
                  <a:lnTo>
                    <a:pt x="115" y="340"/>
                  </a:lnTo>
                  <a:lnTo>
                    <a:pt x="132" y="354"/>
                  </a:lnTo>
                  <a:lnTo>
                    <a:pt x="149" y="371"/>
                  </a:lnTo>
                  <a:lnTo>
                    <a:pt x="155" y="378"/>
                  </a:lnTo>
                  <a:lnTo>
                    <a:pt x="161" y="389"/>
                  </a:lnTo>
                  <a:lnTo>
                    <a:pt x="161" y="389"/>
                  </a:lnTo>
                  <a:lnTo>
                    <a:pt x="168" y="403"/>
                  </a:lnTo>
                  <a:lnTo>
                    <a:pt x="172" y="420"/>
                  </a:lnTo>
                  <a:lnTo>
                    <a:pt x="172" y="439"/>
                  </a:lnTo>
                  <a:lnTo>
                    <a:pt x="172" y="450"/>
                  </a:lnTo>
                  <a:lnTo>
                    <a:pt x="168" y="461"/>
                  </a:lnTo>
                  <a:lnTo>
                    <a:pt x="168" y="461"/>
                  </a:lnTo>
                  <a:lnTo>
                    <a:pt x="174" y="478"/>
                  </a:lnTo>
                  <a:lnTo>
                    <a:pt x="178" y="497"/>
                  </a:lnTo>
                  <a:lnTo>
                    <a:pt x="182" y="518"/>
                  </a:lnTo>
                  <a:lnTo>
                    <a:pt x="183" y="541"/>
                  </a:lnTo>
                  <a:lnTo>
                    <a:pt x="185" y="593"/>
                  </a:lnTo>
                  <a:lnTo>
                    <a:pt x="183" y="658"/>
                  </a:lnTo>
                  <a:lnTo>
                    <a:pt x="183" y="658"/>
                  </a:lnTo>
                  <a:lnTo>
                    <a:pt x="182" y="690"/>
                  </a:lnTo>
                  <a:lnTo>
                    <a:pt x="176" y="718"/>
                  </a:lnTo>
                  <a:lnTo>
                    <a:pt x="168" y="746"/>
                  </a:lnTo>
                  <a:lnTo>
                    <a:pt x="159" y="771"/>
                  </a:lnTo>
                  <a:lnTo>
                    <a:pt x="159" y="771"/>
                  </a:lnTo>
                  <a:lnTo>
                    <a:pt x="183" y="779"/>
                  </a:lnTo>
                  <a:lnTo>
                    <a:pt x="208" y="786"/>
                  </a:lnTo>
                  <a:lnTo>
                    <a:pt x="231" y="797"/>
                  </a:lnTo>
                  <a:lnTo>
                    <a:pt x="251" y="809"/>
                  </a:lnTo>
                  <a:lnTo>
                    <a:pt x="251" y="809"/>
                  </a:lnTo>
                  <a:lnTo>
                    <a:pt x="268" y="820"/>
                  </a:lnTo>
                  <a:lnTo>
                    <a:pt x="285" y="832"/>
                  </a:lnTo>
                  <a:lnTo>
                    <a:pt x="318" y="860"/>
                  </a:lnTo>
                  <a:lnTo>
                    <a:pt x="346" y="890"/>
                  </a:lnTo>
                  <a:lnTo>
                    <a:pt x="370" y="922"/>
                  </a:lnTo>
                  <a:lnTo>
                    <a:pt x="393" y="956"/>
                  </a:lnTo>
                  <a:lnTo>
                    <a:pt x="410" y="992"/>
                  </a:lnTo>
                  <a:lnTo>
                    <a:pt x="423" y="1028"/>
                  </a:lnTo>
                  <a:lnTo>
                    <a:pt x="429" y="1045"/>
                  </a:lnTo>
                  <a:lnTo>
                    <a:pt x="433" y="1064"/>
                  </a:lnTo>
                  <a:lnTo>
                    <a:pt x="678" y="771"/>
                  </a:lnTo>
                  <a:lnTo>
                    <a:pt x="678" y="771"/>
                  </a:lnTo>
                  <a:lnTo>
                    <a:pt x="678" y="754"/>
                  </a:lnTo>
                  <a:lnTo>
                    <a:pt x="675" y="737"/>
                  </a:lnTo>
                  <a:lnTo>
                    <a:pt x="671" y="718"/>
                  </a:lnTo>
                  <a:lnTo>
                    <a:pt x="665" y="701"/>
                  </a:lnTo>
                  <a:lnTo>
                    <a:pt x="659" y="682"/>
                  </a:lnTo>
                  <a:lnTo>
                    <a:pt x="650" y="665"/>
                  </a:lnTo>
                  <a:lnTo>
                    <a:pt x="641" y="646"/>
                  </a:lnTo>
                  <a:lnTo>
                    <a:pt x="629" y="629"/>
                  </a:lnTo>
                  <a:lnTo>
                    <a:pt x="605" y="595"/>
                  </a:lnTo>
                  <a:lnTo>
                    <a:pt x="576" y="563"/>
                  </a:lnTo>
                  <a:lnTo>
                    <a:pt x="561" y="550"/>
                  </a:lnTo>
                  <a:lnTo>
                    <a:pt x="546" y="535"/>
                  </a:lnTo>
                  <a:lnTo>
                    <a:pt x="529" y="524"/>
                  </a:lnTo>
                  <a:lnTo>
                    <a:pt x="512" y="512"/>
                  </a:lnTo>
                  <a:lnTo>
                    <a:pt x="512" y="512"/>
                  </a:lnTo>
                  <a:lnTo>
                    <a:pt x="497" y="503"/>
                  </a:lnTo>
                  <a:lnTo>
                    <a:pt x="480" y="495"/>
                  </a:lnTo>
                  <a:lnTo>
                    <a:pt x="463" y="490"/>
                  </a:lnTo>
                  <a:lnTo>
                    <a:pt x="446" y="484"/>
                  </a:lnTo>
                  <a:lnTo>
                    <a:pt x="412" y="476"/>
                  </a:lnTo>
                  <a:lnTo>
                    <a:pt x="376" y="471"/>
                  </a:lnTo>
                  <a:lnTo>
                    <a:pt x="376" y="471"/>
                  </a:lnTo>
                  <a:lnTo>
                    <a:pt x="387" y="459"/>
                  </a:lnTo>
                  <a:lnTo>
                    <a:pt x="395" y="444"/>
                  </a:lnTo>
                  <a:lnTo>
                    <a:pt x="404" y="429"/>
                  </a:lnTo>
                  <a:lnTo>
                    <a:pt x="410" y="412"/>
                  </a:lnTo>
                  <a:lnTo>
                    <a:pt x="418" y="393"/>
                  </a:lnTo>
                  <a:lnTo>
                    <a:pt x="421" y="374"/>
                  </a:lnTo>
                  <a:lnTo>
                    <a:pt x="425" y="352"/>
                  </a:lnTo>
                  <a:lnTo>
                    <a:pt x="427" y="327"/>
                  </a:lnTo>
                  <a:lnTo>
                    <a:pt x="427" y="327"/>
                  </a:lnTo>
                  <a:lnTo>
                    <a:pt x="429" y="265"/>
                  </a:lnTo>
                  <a:lnTo>
                    <a:pt x="427" y="212"/>
                  </a:lnTo>
                  <a:lnTo>
                    <a:pt x="425" y="187"/>
                  </a:lnTo>
                  <a:lnTo>
                    <a:pt x="421" y="167"/>
                  </a:lnTo>
                  <a:lnTo>
                    <a:pt x="416" y="150"/>
                  </a:lnTo>
                  <a:lnTo>
                    <a:pt x="410" y="133"/>
                  </a:lnTo>
                  <a:lnTo>
                    <a:pt x="410" y="133"/>
                  </a:lnTo>
                  <a:lnTo>
                    <a:pt x="414" y="119"/>
                  </a:lnTo>
                  <a:lnTo>
                    <a:pt x="416" y="106"/>
                  </a:lnTo>
                  <a:lnTo>
                    <a:pt x="416" y="95"/>
                  </a:lnTo>
                  <a:lnTo>
                    <a:pt x="412" y="85"/>
                  </a:lnTo>
                  <a:lnTo>
                    <a:pt x="408" y="74"/>
                  </a:lnTo>
                  <a:lnTo>
                    <a:pt x="401" y="65"/>
                  </a:lnTo>
                  <a:lnTo>
                    <a:pt x="393" y="57"/>
                  </a:lnTo>
                  <a:lnTo>
                    <a:pt x="384" y="49"/>
                  </a:lnTo>
                  <a:lnTo>
                    <a:pt x="361" y="36"/>
                  </a:lnTo>
                  <a:lnTo>
                    <a:pt x="338" y="27"/>
                  </a:lnTo>
                  <a:lnTo>
                    <a:pt x="314" y="19"/>
                  </a:lnTo>
                  <a:lnTo>
                    <a:pt x="291" y="14"/>
                  </a:lnTo>
                  <a:lnTo>
                    <a:pt x="291" y="14"/>
                  </a:lnTo>
                  <a:lnTo>
                    <a:pt x="253" y="6"/>
                  </a:lnTo>
                  <a:lnTo>
                    <a:pt x="253" y="6"/>
                  </a:lnTo>
                  <a:lnTo>
                    <a:pt x="244" y="6"/>
                  </a:lnTo>
                  <a:lnTo>
                    <a:pt x="244" y="6"/>
                  </a:lnTo>
                  <a:lnTo>
                    <a:pt x="217" y="2"/>
                  </a:lnTo>
                  <a:lnTo>
                    <a:pt x="217" y="2"/>
                  </a:lnTo>
                  <a:lnTo>
                    <a:pt x="210" y="2"/>
                  </a:lnTo>
                  <a:lnTo>
                    <a:pt x="210" y="2"/>
                  </a:lnTo>
                  <a:lnTo>
                    <a:pt x="182" y="0"/>
                  </a:lnTo>
                  <a:lnTo>
                    <a:pt x="182" y="0"/>
                  </a:lnTo>
                  <a:lnTo>
                    <a:pt x="174" y="2"/>
                  </a:lnTo>
                  <a:lnTo>
                    <a:pt x="174" y="2"/>
                  </a:lnTo>
                  <a:lnTo>
                    <a:pt x="155" y="2"/>
                  </a:lnTo>
                  <a:lnTo>
                    <a:pt x="155" y="2"/>
                  </a:lnTo>
                  <a:lnTo>
                    <a:pt x="148" y="4"/>
                  </a:lnTo>
                  <a:lnTo>
                    <a:pt x="148" y="4"/>
                  </a:lnTo>
                  <a:lnTo>
                    <a:pt x="132" y="6"/>
                  </a:lnTo>
                  <a:lnTo>
                    <a:pt x="132" y="6"/>
                  </a:lnTo>
                  <a:lnTo>
                    <a:pt x="127" y="8"/>
                  </a:lnTo>
                  <a:lnTo>
                    <a:pt x="127" y="8"/>
                  </a:lnTo>
                  <a:lnTo>
                    <a:pt x="114" y="12"/>
                  </a:lnTo>
                  <a:lnTo>
                    <a:pt x="114" y="12"/>
                  </a:lnTo>
                  <a:lnTo>
                    <a:pt x="108" y="12"/>
                  </a:lnTo>
                  <a:lnTo>
                    <a:pt x="108" y="12"/>
                  </a:lnTo>
                  <a:lnTo>
                    <a:pt x="93" y="19"/>
                  </a:lnTo>
                  <a:lnTo>
                    <a:pt x="93" y="19"/>
                  </a:lnTo>
                  <a:lnTo>
                    <a:pt x="91" y="19"/>
                  </a:lnTo>
                  <a:lnTo>
                    <a:pt x="91" y="19"/>
                  </a:lnTo>
                  <a:lnTo>
                    <a:pt x="81" y="27"/>
                  </a:lnTo>
                  <a:lnTo>
                    <a:pt x="81" y="27"/>
                  </a:lnTo>
                  <a:lnTo>
                    <a:pt x="78" y="29"/>
                  </a:lnTo>
                  <a:lnTo>
                    <a:pt x="78" y="29"/>
                  </a:lnTo>
                  <a:lnTo>
                    <a:pt x="70" y="34"/>
                  </a:lnTo>
                  <a:lnTo>
                    <a:pt x="70" y="34"/>
                  </a:lnTo>
                  <a:lnTo>
                    <a:pt x="68" y="36"/>
                  </a:lnTo>
                  <a:lnTo>
                    <a:pt x="68" y="36"/>
                  </a:lnTo>
                  <a:lnTo>
                    <a:pt x="63" y="42"/>
                  </a:lnTo>
                  <a:lnTo>
                    <a:pt x="63" y="42"/>
                  </a:lnTo>
                  <a:lnTo>
                    <a:pt x="61" y="44"/>
                  </a:lnTo>
                  <a:lnTo>
                    <a:pt x="61" y="44"/>
                  </a:lnTo>
                  <a:lnTo>
                    <a:pt x="57" y="51"/>
                  </a:lnTo>
                  <a:lnTo>
                    <a:pt x="57" y="51"/>
                  </a:lnTo>
                  <a:lnTo>
                    <a:pt x="55" y="53"/>
                  </a:lnTo>
                  <a:lnTo>
                    <a:pt x="55" y="53"/>
                  </a:lnTo>
                  <a:lnTo>
                    <a:pt x="51" y="59"/>
                  </a:lnTo>
                  <a:lnTo>
                    <a:pt x="51" y="59"/>
                  </a:lnTo>
                  <a:lnTo>
                    <a:pt x="51" y="61"/>
                  </a:lnTo>
                  <a:lnTo>
                    <a:pt x="51" y="61"/>
                  </a:lnTo>
                  <a:lnTo>
                    <a:pt x="49" y="66"/>
                  </a:lnTo>
                  <a:lnTo>
                    <a:pt x="49" y="66"/>
                  </a:lnTo>
                  <a:lnTo>
                    <a:pt x="49" y="68"/>
                  </a:lnTo>
                  <a:lnTo>
                    <a:pt x="49" y="68"/>
                  </a:lnTo>
                  <a:lnTo>
                    <a:pt x="47" y="70"/>
                  </a:lnTo>
                  <a:lnTo>
                    <a:pt x="47" y="70"/>
                  </a:lnTo>
                  <a:lnTo>
                    <a:pt x="47" y="72"/>
                  </a:lnTo>
                  <a:lnTo>
                    <a:pt x="47" y="72"/>
                  </a:lnTo>
                  <a:lnTo>
                    <a:pt x="47" y="74"/>
                  </a:lnTo>
                  <a:lnTo>
                    <a:pt x="47" y="74"/>
                  </a:lnTo>
                  <a:lnTo>
                    <a:pt x="47" y="76"/>
                  </a:lnTo>
                  <a:lnTo>
                    <a:pt x="47" y="76"/>
                  </a:lnTo>
                  <a:lnTo>
                    <a:pt x="47" y="76"/>
                  </a:lnTo>
                  <a:lnTo>
                    <a:pt x="47" y="76"/>
                  </a:lnTo>
                  <a:lnTo>
                    <a:pt x="47" y="76"/>
                  </a:lnTo>
                  <a:lnTo>
                    <a:pt x="47" y="76"/>
                  </a:lnTo>
                  <a:lnTo>
                    <a:pt x="46" y="76"/>
                  </a:lnTo>
                  <a:lnTo>
                    <a:pt x="46" y="76"/>
                  </a:lnTo>
                  <a:lnTo>
                    <a:pt x="44" y="78"/>
                  </a:lnTo>
                  <a:lnTo>
                    <a:pt x="44" y="78"/>
                  </a:lnTo>
                  <a:lnTo>
                    <a:pt x="42" y="78"/>
                  </a:lnTo>
                  <a:lnTo>
                    <a:pt x="42" y="78"/>
                  </a:lnTo>
                  <a:lnTo>
                    <a:pt x="38" y="78"/>
                  </a:lnTo>
                  <a:lnTo>
                    <a:pt x="38" y="78"/>
                  </a:lnTo>
                  <a:lnTo>
                    <a:pt x="36" y="80"/>
                  </a:lnTo>
                  <a:lnTo>
                    <a:pt x="36" y="80"/>
                  </a:lnTo>
                  <a:lnTo>
                    <a:pt x="32" y="82"/>
                  </a:lnTo>
                  <a:lnTo>
                    <a:pt x="32" y="82"/>
                  </a:lnTo>
                  <a:lnTo>
                    <a:pt x="29" y="83"/>
                  </a:lnTo>
                  <a:lnTo>
                    <a:pt x="29" y="83"/>
                  </a:lnTo>
                  <a:lnTo>
                    <a:pt x="25" y="87"/>
                  </a:lnTo>
                  <a:lnTo>
                    <a:pt x="25" y="87"/>
                  </a:lnTo>
                  <a:lnTo>
                    <a:pt x="23" y="91"/>
                  </a:lnTo>
                  <a:lnTo>
                    <a:pt x="23" y="91"/>
                  </a:lnTo>
                  <a:lnTo>
                    <a:pt x="19" y="99"/>
                  </a:lnTo>
                  <a:lnTo>
                    <a:pt x="19" y="99"/>
                  </a:lnTo>
                  <a:lnTo>
                    <a:pt x="15" y="102"/>
                  </a:lnTo>
                  <a:lnTo>
                    <a:pt x="15" y="102"/>
                  </a:lnTo>
                  <a:lnTo>
                    <a:pt x="12" y="112"/>
                  </a:lnTo>
                  <a:lnTo>
                    <a:pt x="12" y="112"/>
                  </a:lnTo>
                  <a:lnTo>
                    <a:pt x="10" y="119"/>
                  </a:lnTo>
                  <a:lnTo>
                    <a:pt x="10" y="119"/>
                  </a:lnTo>
                  <a:lnTo>
                    <a:pt x="4" y="138"/>
                  </a:lnTo>
                  <a:lnTo>
                    <a:pt x="4" y="138"/>
                  </a:lnTo>
                  <a:lnTo>
                    <a:pt x="0" y="176"/>
                  </a:lnTo>
                  <a:lnTo>
                    <a:pt x="0" y="218"/>
                  </a:lnTo>
                  <a:lnTo>
                    <a:pt x="0" y="261"/>
                  </a:lnTo>
                  <a:lnTo>
                    <a:pt x="4" y="303"/>
                  </a:lnTo>
                  <a:lnTo>
                    <a:pt x="4" y="303"/>
                  </a:lnTo>
                  <a:lnTo>
                    <a:pt x="17" y="304"/>
                  </a:lnTo>
                  <a:lnTo>
                    <a:pt x="17" y="3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43" name="Freeform 105">
              <a:extLst>
                <a:ext uri="{FF2B5EF4-FFF2-40B4-BE49-F238E27FC236}">
                  <a16:creationId xmlns:a16="http://schemas.microsoft.com/office/drawing/2014/main" id="{B2FCFD37-3F36-E375-FA41-55A8DBCA04E5}"/>
                </a:ext>
              </a:extLst>
            </p:cNvPr>
            <p:cNvSpPr>
              <a:spLocks/>
            </p:cNvSpPr>
            <p:nvPr/>
          </p:nvSpPr>
          <p:spPr bwMode="auto">
            <a:xfrm>
              <a:off x="11677654" y="3309936"/>
              <a:ext cx="1076324" cy="1631954"/>
            </a:xfrm>
            <a:custGeom>
              <a:avLst/>
              <a:gdLst>
                <a:gd name="T0" fmla="*/ 104 w 678"/>
                <a:gd name="T1" fmla="*/ 293 h 1028"/>
                <a:gd name="T2" fmla="*/ 179 w 678"/>
                <a:gd name="T3" fmla="*/ 342 h 1028"/>
                <a:gd name="T4" fmla="*/ 196 w 678"/>
                <a:gd name="T5" fmla="*/ 374 h 1028"/>
                <a:gd name="T6" fmla="*/ 198 w 678"/>
                <a:gd name="T7" fmla="*/ 432 h 1028"/>
                <a:gd name="T8" fmla="*/ 211 w 678"/>
                <a:gd name="T9" fmla="*/ 489 h 1028"/>
                <a:gd name="T10" fmla="*/ 213 w 678"/>
                <a:gd name="T11" fmla="*/ 631 h 1028"/>
                <a:gd name="T12" fmla="*/ 189 w 678"/>
                <a:gd name="T13" fmla="*/ 742 h 1028"/>
                <a:gd name="T14" fmla="*/ 260 w 678"/>
                <a:gd name="T15" fmla="*/ 769 h 1028"/>
                <a:gd name="T16" fmla="*/ 345 w 678"/>
                <a:gd name="T17" fmla="*/ 829 h 1028"/>
                <a:gd name="T18" fmla="*/ 438 w 678"/>
                <a:gd name="T19" fmla="*/ 958 h 1028"/>
                <a:gd name="T20" fmla="*/ 678 w 678"/>
                <a:gd name="T21" fmla="*/ 769 h 1028"/>
                <a:gd name="T22" fmla="*/ 667 w 678"/>
                <a:gd name="T23" fmla="*/ 699 h 1028"/>
                <a:gd name="T24" fmla="*/ 631 w 678"/>
                <a:gd name="T25" fmla="*/ 627 h 1028"/>
                <a:gd name="T26" fmla="*/ 546 w 678"/>
                <a:gd name="T27" fmla="*/ 533 h 1028"/>
                <a:gd name="T28" fmla="*/ 497 w 678"/>
                <a:gd name="T29" fmla="*/ 501 h 1028"/>
                <a:gd name="T30" fmla="*/ 412 w 678"/>
                <a:gd name="T31" fmla="*/ 474 h 1028"/>
                <a:gd name="T32" fmla="*/ 396 w 678"/>
                <a:gd name="T33" fmla="*/ 444 h 1028"/>
                <a:gd name="T34" fmla="*/ 421 w 678"/>
                <a:gd name="T35" fmla="*/ 372 h 1028"/>
                <a:gd name="T36" fmla="*/ 429 w 678"/>
                <a:gd name="T37" fmla="*/ 262 h 1028"/>
                <a:gd name="T38" fmla="*/ 415 w 678"/>
                <a:gd name="T39" fmla="*/ 147 h 1028"/>
                <a:gd name="T40" fmla="*/ 415 w 678"/>
                <a:gd name="T41" fmla="*/ 106 h 1028"/>
                <a:gd name="T42" fmla="*/ 400 w 678"/>
                <a:gd name="T43" fmla="*/ 64 h 1028"/>
                <a:gd name="T44" fmla="*/ 338 w 678"/>
                <a:gd name="T45" fmla="*/ 24 h 1028"/>
                <a:gd name="T46" fmla="*/ 291 w 678"/>
                <a:gd name="T47" fmla="*/ 11 h 1028"/>
                <a:gd name="T48" fmla="*/ 243 w 678"/>
                <a:gd name="T49" fmla="*/ 4 h 1028"/>
                <a:gd name="T50" fmla="*/ 211 w 678"/>
                <a:gd name="T51" fmla="*/ 0 h 1028"/>
                <a:gd name="T52" fmla="*/ 174 w 678"/>
                <a:gd name="T53" fmla="*/ 0 h 1028"/>
                <a:gd name="T54" fmla="*/ 147 w 678"/>
                <a:gd name="T55" fmla="*/ 2 h 1028"/>
                <a:gd name="T56" fmla="*/ 126 w 678"/>
                <a:gd name="T57" fmla="*/ 6 h 1028"/>
                <a:gd name="T58" fmla="*/ 107 w 678"/>
                <a:gd name="T59" fmla="*/ 11 h 1028"/>
                <a:gd name="T60" fmla="*/ 90 w 678"/>
                <a:gd name="T61" fmla="*/ 17 h 1028"/>
                <a:gd name="T62" fmla="*/ 77 w 678"/>
                <a:gd name="T63" fmla="*/ 26 h 1028"/>
                <a:gd name="T64" fmla="*/ 68 w 678"/>
                <a:gd name="T65" fmla="*/ 34 h 1028"/>
                <a:gd name="T66" fmla="*/ 60 w 678"/>
                <a:gd name="T67" fmla="*/ 43 h 1028"/>
                <a:gd name="T68" fmla="*/ 55 w 678"/>
                <a:gd name="T69" fmla="*/ 51 h 1028"/>
                <a:gd name="T70" fmla="*/ 51 w 678"/>
                <a:gd name="T71" fmla="*/ 58 h 1028"/>
                <a:gd name="T72" fmla="*/ 49 w 678"/>
                <a:gd name="T73" fmla="*/ 66 h 1028"/>
                <a:gd name="T74" fmla="*/ 47 w 678"/>
                <a:gd name="T75" fmla="*/ 70 h 1028"/>
                <a:gd name="T76" fmla="*/ 47 w 678"/>
                <a:gd name="T77" fmla="*/ 74 h 1028"/>
                <a:gd name="T78" fmla="*/ 47 w 678"/>
                <a:gd name="T79" fmla="*/ 75 h 1028"/>
                <a:gd name="T80" fmla="*/ 43 w 678"/>
                <a:gd name="T81" fmla="*/ 75 h 1028"/>
                <a:gd name="T82" fmla="*/ 40 w 678"/>
                <a:gd name="T83" fmla="*/ 77 h 1028"/>
                <a:gd name="T84" fmla="*/ 32 w 678"/>
                <a:gd name="T85" fmla="*/ 79 h 1028"/>
                <a:gd name="T86" fmla="*/ 26 w 678"/>
                <a:gd name="T87" fmla="*/ 87 h 1028"/>
                <a:gd name="T88" fmla="*/ 19 w 678"/>
                <a:gd name="T89" fmla="*/ 96 h 1028"/>
                <a:gd name="T90" fmla="*/ 11 w 678"/>
                <a:gd name="T91" fmla="*/ 109 h 1028"/>
                <a:gd name="T92" fmla="*/ 4 w 678"/>
                <a:gd name="T93" fmla="*/ 138 h 1028"/>
                <a:gd name="T94" fmla="*/ 0 w 678"/>
                <a:gd name="T95" fmla="*/ 234 h 1028"/>
                <a:gd name="T96" fmla="*/ 47 w 678"/>
                <a:gd name="T97" fmla="*/ 278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78" h="1028">
                  <a:moveTo>
                    <a:pt x="47" y="278"/>
                  </a:moveTo>
                  <a:lnTo>
                    <a:pt x="47" y="278"/>
                  </a:lnTo>
                  <a:lnTo>
                    <a:pt x="83" y="285"/>
                  </a:lnTo>
                  <a:lnTo>
                    <a:pt x="104" y="293"/>
                  </a:lnTo>
                  <a:lnTo>
                    <a:pt x="124" y="302"/>
                  </a:lnTo>
                  <a:lnTo>
                    <a:pt x="143" y="313"/>
                  </a:lnTo>
                  <a:lnTo>
                    <a:pt x="162" y="327"/>
                  </a:lnTo>
                  <a:lnTo>
                    <a:pt x="179" y="342"/>
                  </a:lnTo>
                  <a:lnTo>
                    <a:pt x="185" y="351"/>
                  </a:lnTo>
                  <a:lnTo>
                    <a:pt x="191" y="361"/>
                  </a:lnTo>
                  <a:lnTo>
                    <a:pt x="191" y="361"/>
                  </a:lnTo>
                  <a:lnTo>
                    <a:pt x="196" y="374"/>
                  </a:lnTo>
                  <a:lnTo>
                    <a:pt x="202" y="391"/>
                  </a:lnTo>
                  <a:lnTo>
                    <a:pt x="202" y="410"/>
                  </a:lnTo>
                  <a:lnTo>
                    <a:pt x="202" y="421"/>
                  </a:lnTo>
                  <a:lnTo>
                    <a:pt x="198" y="432"/>
                  </a:lnTo>
                  <a:lnTo>
                    <a:pt x="198" y="432"/>
                  </a:lnTo>
                  <a:lnTo>
                    <a:pt x="204" y="449"/>
                  </a:lnTo>
                  <a:lnTo>
                    <a:pt x="208" y="468"/>
                  </a:lnTo>
                  <a:lnTo>
                    <a:pt x="211" y="489"/>
                  </a:lnTo>
                  <a:lnTo>
                    <a:pt x="213" y="512"/>
                  </a:lnTo>
                  <a:lnTo>
                    <a:pt x="215" y="567"/>
                  </a:lnTo>
                  <a:lnTo>
                    <a:pt x="213" y="631"/>
                  </a:lnTo>
                  <a:lnTo>
                    <a:pt x="213" y="631"/>
                  </a:lnTo>
                  <a:lnTo>
                    <a:pt x="211" y="661"/>
                  </a:lnTo>
                  <a:lnTo>
                    <a:pt x="206" y="691"/>
                  </a:lnTo>
                  <a:lnTo>
                    <a:pt x="198" y="718"/>
                  </a:lnTo>
                  <a:lnTo>
                    <a:pt x="189" y="742"/>
                  </a:lnTo>
                  <a:lnTo>
                    <a:pt x="189" y="742"/>
                  </a:lnTo>
                  <a:lnTo>
                    <a:pt x="213" y="750"/>
                  </a:lnTo>
                  <a:lnTo>
                    <a:pt x="238" y="757"/>
                  </a:lnTo>
                  <a:lnTo>
                    <a:pt x="260" y="769"/>
                  </a:lnTo>
                  <a:lnTo>
                    <a:pt x="281" y="780"/>
                  </a:lnTo>
                  <a:lnTo>
                    <a:pt x="281" y="780"/>
                  </a:lnTo>
                  <a:lnTo>
                    <a:pt x="313" y="803"/>
                  </a:lnTo>
                  <a:lnTo>
                    <a:pt x="345" y="829"/>
                  </a:lnTo>
                  <a:lnTo>
                    <a:pt x="372" y="859"/>
                  </a:lnTo>
                  <a:lnTo>
                    <a:pt x="398" y="892"/>
                  </a:lnTo>
                  <a:lnTo>
                    <a:pt x="419" y="924"/>
                  </a:lnTo>
                  <a:lnTo>
                    <a:pt x="438" y="958"/>
                  </a:lnTo>
                  <a:lnTo>
                    <a:pt x="451" y="994"/>
                  </a:lnTo>
                  <a:lnTo>
                    <a:pt x="461" y="1028"/>
                  </a:lnTo>
                  <a:lnTo>
                    <a:pt x="678" y="769"/>
                  </a:lnTo>
                  <a:lnTo>
                    <a:pt x="678" y="769"/>
                  </a:lnTo>
                  <a:lnTo>
                    <a:pt x="678" y="752"/>
                  </a:lnTo>
                  <a:lnTo>
                    <a:pt x="676" y="735"/>
                  </a:lnTo>
                  <a:lnTo>
                    <a:pt x="670" y="718"/>
                  </a:lnTo>
                  <a:lnTo>
                    <a:pt x="667" y="699"/>
                  </a:lnTo>
                  <a:lnTo>
                    <a:pt x="659" y="680"/>
                  </a:lnTo>
                  <a:lnTo>
                    <a:pt x="650" y="663"/>
                  </a:lnTo>
                  <a:lnTo>
                    <a:pt x="640" y="644"/>
                  </a:lnTo>
                  <a:lnTo>
                    <a:pt x="631" y="627"/>
                  </a:lnTo>
                  <a:lnTo>
                    <a:pt x="606" y="593"/>
                  </a:lnTo>
                  <a:lnTo>
                    <a:pt x="578" y="561"/>
                  </a:lnTo>
                  <a:lnTo>
                    <a:pt x="563" y="548"/>
                  </a:lnTo>
                  <a:lnTo>
                    <a:pt x="546" y="533"/>
                  </a:lnTo>
                  <a:lnTo>
                    <a:pt x="529" y="521"/>
                  </a:lnTo>
                  <a:lnTo>
                    <a:pt x="514" y="510"/>
                  </a:lnTo>
                  <a:lnTo>
                    <a:pt x="514" y="510"/>
                  </a:lnTo>
                  <a:lnTo>
                    <a:pt x="497" y="501"/>
                  </a:lnTo>
                  <a:lnTo>
                    <a:pt x="481" y="493"/>
                  </a:lnTo>
                  <a:lnTo>
                    <a:pt x="464" y="487"/>
                  </a:lnTo>
                  <a:lnTo>
                    <a:pt x="447" y="482"/>
                  </a:lnTo>
                  <a:lnTo>
                    <a:pt x="412" y="474"/>
                  </a:lnTo>
                  <a:lnTo>
                    <a:pt x="378" y="470"/>
                  </a:lnTo>
                  <a:lnTo>
                    <a:pt x="378" y="470"/>
                  </a:lnTo>
                  <a:lnTo>
                    <a:pt x="387" y="457"/>
                  </a:lnTo>
                  <a:lnTo>
                    <a:pt x="396" y="444"/>
                  </a:lnTo>
                  <a:lnTo>
                    <a:pt x="404" y="427"/>
                  </a:lnTo>
                  <a:lnTo>
                    <a:pt x="412" y="410"/>
                  </a:lnTo>
                  <a:lnTo>
                    <a:pt x="417" y="393"/>
                  </a:lnTo>
                  <a:lnTo>
                    <a:pt x="421" y="372"/>
                  </a:lnTo>
                  <a:lnTo>
                    <a:pt x="425" y="349"/>
                  </a:lnTo>
                  <a:lnTo>
                    <a:pt x="427" y="325"/>
                  </a:lnTo>
                  <a:lnTo>
                    <a:pt x="427" y="325"/>
                  </a:lnTo>
                  <a:lnTo>
                    <a:pt x="429" y="262"/>
                  </a:lnTo>
                  <a:lnTo>
                    <a:pt x="427" y="210"/>
                  </a:lnTo>
                  <a:lnTo>
                    <a:pt x="425" y="187"/>
                  </a:lnTo>
                  <a:lnTo>
                    <a:pt x="421" y="166"/>
                  </a:lnTo>
                  <a:lnTo>
                    <a:pt x="415" y="147"/>
                  </a:lnTo>
                  <a:lnTo>
                    <a:pt x="410" y="132"/>
                  </a:lnTo>
                  <a:lnTo>
                    <a:pt x="410" y="132"/>
                  </a:lnTo>
                  <a:lnTo>
                    <a:pt x="413" y="117"/>
                  </a:lnTo>
                  <a:lnTo>
                    <a:pt x="415" y="106"/>
                  </a:lnTo>
                  <a:lnTo>
                    <a:pt x="415" y="92"/>
                  </a:lnTo>
                  <a:lnTo>
                    <a:pt x="412" y="83"/>
                  </a:lnTo>
                  <a:lnTo>
                    <a:pt x="408" y="72"/>
                  </a:lnTo>
                  <a:lnTo>
                    <a:pt x="400" y="64"/>
                  </a:lnTo>
                  <a:lnTo>
                    <a:pt x="393" y="55"/>
                  </a:lnTo>
                  <a:lnTo>
                    <a:pt x="383" y="47"/>
                  </a:lnTo>
                  <a:lnTo>
                    <a:pt x="362" y="34"/>
                  </a:lnTo>
                  <a:lnTo>
                    <a:pt x="338" y="24"/>
                  </a:lnTo>
                  <a:lnTo>
                    <a:pt x="313" y="17"/>
                  </a:lnTo>
                  <a:lnTo>
                    <a:pt x="291" y="11"/>
                  </a:lnTo>
                  <a:lnTo>
                    <a:pt x="291" y="11"/>
                  </a:lnTo>
                  <a:lnTo>
                    <a:pt x="291" y="11"/>
                  </a:lnTo>
                  <a:lnTo>
                    <a:pt x="291" y="11"/>
                  </a:lnTo>
                  <a:lnTo>
                    <a:pt x="253" y="4"/>
                  </a:lnTo>
                  <a:lnTo>
                    <a:pt x="253" y="4"/>
                  </a:lnTo>
                  <a:lnTo>
                    <a:pt x="243" y="4"/>
                  </a:lnTo>
                  <a:lnTo>
                    <a:pt x="243" y="4"/>
                  </a:lnTo>
                  <a:lnTo>
                    <a:pt x="217" y="0"/>
                  </a:lnTo>
                  <a:lnTo>
                    <a:pt x="217" y="0"/>
                  </a:lnTo>
                  <a:lnTo>
                    <a:pt x="211" y="0"/>
                  </a:lnTo>
                  <a:lnTo>
                    <a:pt x="211" y="0"/>
                  </a:lnTo>
                  <a:lnTo>
                    <a:pt x="181" y="0"/>
                  </a:lnTo>
                  <a:lnTo>
                    <a:pt x="181" y="0"/>
                  </a:lnTo>
                  <a:lnTo>
                    <a:pt x="174" y="0"/>
                  </a:lnTo>
                  <a:lnTo>
                    <a:pt x="174" y="0"/>
                  </a:lnTo>
                  <a:lnTo>
                    <a:pt x="157" y="0"/>
                  </a:lnTo>
                  <a:lnTo>
                    <a:pt x="157" y="0"/>
                  </a:lnTo>
                  <a:lnTo>
                    <a:pt x="147" y="2"/>
                  </a:lnTo>
                  <a:lnTo>
                    <a:pt x="147" y="2"/>
                  </a:lnTo>
                  <a:lnTo>
                    <a:pt x="134" y="4"/>
                  </a:lnTo>
                  <a:lnTo>
                    <a:pt x="134" y="4"/>
                  </a:lnTo>
                  <a:lnTo>
                    <a:pt x="126" y="6"/>
                  </a:lnTo>
                  <a:lnTo>
                    <a:pt x="126" y="6"/>
                  </a:lnTo>
                  <a:lnTo>
                    <a:pt x="113" y="9"/>
                  </a:lnTo>
                  <a:lnTo>
                    <a:pt x="113" y="9"/>
                  </a:lnTo>
                  <a:lnTo>
                    <a:pt x="107" y="11"/>
                  </a:lnTo>
                  <a:lnTo>
                    <a:pt x="107" y="11"/>
                  </a:lnTo>
                  <a:lnTo>
                    <a:pt x="92" y="17"/>
                  </a:lnTo>
                  <a:lnTo>
                    <a:pt x="92" y="17"/>
                  </a:lnTo>
                  <a:lnTo>
                    <a:pt x="90" y="17"/>
                  </a:lnTo>
                  <a:lnTo>
                    <a:pt x="90" y="17"/>
                  </a:lnTo>
                  <a:lnTo>
                    <a:pt x="81" y="24"/>
                  </a:lnTo>
                  <a:lnTo>
                    <a:pt x="81" y="24"/>
                  </a:lnTo>
                  <a:lnTo>
                    <a:pt x="77" y="26"/>
                  </a:lnTo>
                  <a:lnTo>
                    <a:pt x="77" y="26"/>
                  </a:lnTo>
                  <a:lnTo>
                    <a:pt x="72" y="32"/>
                  </a:lnTo>
                  <a:lnTo>
                    <a:pt x="72" y="32"/>
                  </a:lnTo>
                  <a:lnTo>
                    <a:pt x="68" y="34"/>
                  </a:lnTo>
                  <a:lnTo>
                    <a:pt x="68" y="34"/>
                  </a:lnTo>
                  <a:lnTo>
                    <a:pt x="62" y="40"/>
                  </a:lnTo>
                  <a:lnTo>
                    <a:pt x="62" y="40"/>
                  </a:lnTo>
                  <a:lnTo>
                    <a:pt x="60" y="43"/>
                  </a:lnTo>
                  <a:lnTo>
                    <a:pt x="60" y="43"/>
                  </a:lnTo>
                  <a:lnTo>
                    <a:pt x="56" y="49"/>
                  </a:lnTo>
                  <a:lnTo>
                    <a:pt x="56" y="49"/>
                  </a:lnTo>
                  <a:lnTo>
                    <a:pt x="55" y="51"/>
                  </a:lnTo>
                  <a:lnTo>
                    <a:pt x="55" y="51"/>
                  </a:lnTo>
                  <a:lnTo>
                    <a:pt x="51" y="58"/>
                  </a:lnTo>
                  <a:lnTo>
                    <a:pt x="51" y="58"/>
                  </a:lnTo>
                  <a:lnTo>
                    <a:pt x="51" y="58"/>
                  </a:lnTo>
                  <a:lnTo>
                    <a:pt x="51" y="58"/>
                  </a:lnTo>
                  <a:lnTo>
                    <a:pt x="49" y="64"/>
                  </a:lnTo>
                  <a:lnTo>
                    <a:pt x="49" y="64"/>
                  </a:lnTo>
                  <a:lnTo>
                    <a:pt x="49" y="66"/>
                  </a:lnTo>
                  <a:lnTo>
                    <a:pt x="49" y="66"/>
                  </a:lnTo>
                  <a:lnTo>
                    <a:pt x="47" y="70"/>
                  </a:lnTo>
                  <a:lnTo>
                    <a:pt x="47" y="70"/>
                  </a:lnTo>
                  <a:lnTo>
                    <a:pt x="47" y="70"/>
                  </a:lnTo>
                  <a:lnTo>
                    <a:pt x="47" y="70"/>
                  </a:lnTo>
                  <a:lnTo>
                    <a:pt x="47" y="74"/>
                  </a:lnTo>
                  <a:lnTo>
                    <a:pt x="47" y="74"/>
                  </a:lnTo>
                  <a:lnTo>
                    <a:pt x="47" y="74"/>
                  </a:lnTo>
                  <a:lnTo>
                    <a:pt x="47" y="74"/>
                  </a:lnTo>
                  <a:lnTo>
                    <a:pt x="47" y="75"/>
                  </a:lnTo>
                  <a:lnTo>
                    <a:pt x="47" y="75"/>
                  </a:lnTo>
                  <a:lnTo>
                    <a:pt x="47" y="75"/>
                  </a:lnTo>
                  <a:lnTo>
                    <a:pt x="47" y="75"/>
                  </a:lnTo>
                  <a:lnTo>
                    <a:pt x="45" y="75"/>
                  </a:lnTo>
                  <a:lnTo>
                    <a:pt x="45" y="75"/>
                  </a:lnTo>
                  <a:lnTo>
                    <a:pt x="43" y="75"/>
                  </a:lnTo>
                  <a:lnTo>
                    <a:pt x="43" y="75"/>
                  </a:lnTo>
                  <a:lnTo>
                    <a:pt x="41" y="75"/>
                  </a:lnTo>
                  <a:lnTo>
                    <a:pt x="41" y="75"/>
                  </a:lnTo>
                  <a:lnTo>
                    <a:pt x="40" y="77"/>
                  </a:lnTo>
                  <a:lnTo>
                    <a:pt x="40" y="77"/>
                  </a:lnTo>
                  <a:lnTo>
                    <a:pt x="36" y="77"/>
                  </a:lnTo>
                  <a:lnTo>
                    <a:pt x="36" y="77"/>
                  </a:lnTo>
                  <a:lnTo>
                    <a:pt x="32" y="79"/>
                  </a:lnTo>
                  <a:lnTo>
                    <a:pt x="32" y="79"/>
                  </a:lnTo>
                  <a:lnTo>
                    <a:pt x="30" y="83"/>
                  </a:lnTo>
                  <a:lnTo>
                    <a:pt x="30" y="83"/>
                  </a:lnTo>
                  <a:lnTo>
                    <a:pt x="26" y="87"/>
                  </a:lnTo>
                  <a:lnTo>
                    <a:pt x="26" y="87"/>
                  </a:lnTo>
                  <a:lnTo>
                    <a:pt x="23" y="91"/>
                  </a:lnTo>
                  <a:lnTo>
                    <a:pt x="23" y="91"/>
                  </a:lnTo>
                  <a:lnTo>
                    <a:pt x="19" y="96"/>
                  </a:lnTo>
                  <a:lnTo>
                    <a:pt x="19" y="96"/>
                  </a:lnTo>
                  <a:lnTo>
                    <a:pt x="15" y="102"/>
                  </a:lnTo>
                  <a:lnTo>
                    <a:pt x="15" y="102"/>
                  </a:lnTo>
                  <a:lnTo>
                    <a:pt x="11" y="109"/>
                  </a:lnTo>
                  <a:lnTo>
                    <a:pt x="11" y="109"/>
                  </a:lnTo>
                  <a:lnTo>
                    <a:pt x="9" y="117"/>
                  </a:lnTo>
                  <a:lnTo>
                    <a:pt x="9" y="117"/>
                  </a:lnTo>
                  <a:lnTo>
                    <a:pt x="4" y="138"/>
                  </a:lnTo>
                  <a:lnTo>
                    <a:pt x="4" y="138"/>
                  </a:lnTo>
                  <a:lnTo>
                    <a:pt x="2" y="166"/>
                  </a:lnTo>
                  <a:lnTo>
                    <a:pt x="0" y="200"/>
                  </a:lnTo>
                  <a:lnTo>
                    <a:pt x="0" y="234"/>
                  </a:lnTo>
                  <a:lnTo>
                    <a:pt x="2" y="270"/>
                  </a:lnTo>
                  <a:lnTo>
                    <a:pt x="2" y="270"/>
                  </a:lnTo>
                  <a:lnTo>
                    <a:pt x="47" y="278"/>
                  </a:lnTo>
                  <a:lnTo>
                    <a:pt x="47"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44" name="Freeform 106">
              <a:extLst>
                <a:ext uri="{FF2B5EF4-FFF2-40B4-BE49-F238E27FC236}">
                  <a16:creationId xmlns:a16="http://schemas.microsoft.com/office/drawing/2014/main" id="{350F4E2B-A1FE-5039-2C6F-4233152FBE7D}"/>
                </a:ext>
              </a:extLst>
            </p:cNvPr>
            <p:cNvSpPr>
              <a:spLocks/>
            </p:cNvSpPr>
            <p:nvPr/>
          </p:nvSpPr>
          <p:spPr bwMode="auto">
            <a:xfrm>
              <a:off x="10999788" y="3789368"/>
              <a:ext cx="1355721" cy="1901823"/>
            </a:xfrm>
            <a:custGeom>
              <a:avLst/>
              <a:gdLst>
                <a:gd name="T0" fmla="*/ 672 w 854"/>
                <a:gd name="T1" fmla="*/ 503 h 1198"/>
                <a:gd name="T2" fmla="*/ 623 w 854"/>
                <a:gd name="T3" fmla="*/ 482 h 1198"/>
                <a:gd name="T4" fmla="*/ 551 w 854"/>
                <a:gd name="T5" fmla="*/ 471 h 1198"/>
                <a:gd name="T6" fmla="*/ 580 w 854"/>
                <a:gd name="T7" fmla="*/ 429 h 1198"/>
                <a:gd name="T8" fmla="*/ 597 w 854"/>
                <a:gd name="T9" fmla="*/ 372 h 1198"/>
                <a:gd name="T10" fmla="*/ 602 w 854"/>
                <a:gd name="T11" fmla="*/ 327 h 1198"/>
                <a:gd name="T12" fmla="*/ 601 w 854"/>
                <a:gd name="T13" fmla="*/ 187 h 1198"/>
                <a:gd name="T14" fmla="*/ 585 w 854"/>
                <a:gd name="T15" fmla="*/ 132 h 1198"/>
                <a:gd name="T16" fmla="*/ 591 w 854"/>
                <a:gd name="T17" fmla="*/ 106 h 1198"/>
                <a:gd name="T18" fmla="*/ 584 w 854"/>
                <a:gd name="T19" fmla="*/ 74 h 1198"/>
                <a:gd name="T20" fmla="*/ 559 w 854"/>
                <a:gd name="T21" fmla="*/ 49 h 1198"/>
                <a:gd name="T22" fmla="*/ 489 w 854"/>
                <a:gd name="T23" fmla="*/ 17 h 1198"/>
                <a:gd name="T24" fmla="*/ 433 w 854"/>
                <a:gd name="T25" fmla="*/ 6 h 1198"/>
                <a:gd name="T26" fmla="*/ 429 w 854"/>
                <a:gd name="T27" fmla="*/ 6 h 1198"/>
                <a:gd name="T28" fmla="*/ 393 w 854"/>
                <a:gd name="T29" fmla="*/ 2 h 1198"/>
                <a:gd name="T30" fmla="*/ 393 w 854"/>
                <a:gd name="T31" fmla="*/ 2 h 1198"/>
                <a:gd name="T32" fmla="*/ 357 w 854"/>
                <a:gd name="T33" fmla="*/ 0 h 1198"/>
                <a:gd name="T34" fmla="*/ 349 w 854"/>
                <a:gd name="T35" fmla="*/ 0 h 1198"/>
                <a:gd name="T36" fmla="*/ 323 w 854"/>
                <a:gd name="T37" fmla="*/ 2 h 1198"/>
                <a:gd name="T38" fmla="*/ 308 w 854"/>
                <a:gd name="T39" fmla="*/ 4 h 1198"/>
                <a:gd name="T40" fmla="*/ 289 w 854"/>
                <a:gd name="T41" fmla="*/ 10 h 1198"/>
                <a:gd name="T42" fmla="*/ 283 w 854"/>
                <a:gd name="T43" fmla="*/ 11 h 1198"/>
                <a:gd name="T44" fmla="*/ 266 w 854"/>
                <a:gd name="T45" fmla="*/ 19 h 1198"/>
                <a:gd name="T46" fmla="*/ 257 w 854"/>
                <a:gd name="T47" fmla="*/ 25 h 1198"/>
                <a:gd name="T48" fmla="*/ 246 w 854"/>
                <a:gd name="T49" fmla="*/ 32 h 1198"/>
                <a:gd name="T50" fmla="*/ 244 w 854"/>
                <a:gd name="T51" fmla="*/ 36 h 1198"/>
                <a:gd name="T52" fmla="*/ 236 w 854"/>
                <a:gd name="T53" fmla="*/ 44 h 1198"/>
                <a:gd name="T54" fmla="*/ 232 w 854"/>
                <a:gd name="T55" fmla="*/ 49 h 1198"/>
                <a:gd name="T56" fmla="*/ 227 w 854"/>
                <a:gd name="T57" fmla="*/ 59 h 1198"/>
                <a:gd name="T58" fmla="*/ 227 w 854"/>
                <a:gd name="T59" fmla="*/ 61 h 1198"/>
                <a:gd name="T60" fmla="*/ 225 w 854"/>
                <a:gd name="T61" fmla="*/ 66 h 1198"/>
                <a:gd name="T62" fmla="*/ 223 w 854"/>
                <a:gd name="T63" fmla="*/ 70 h 1198"/>
                <a:gd name="T64" fmla="*/ 223 w 854"/>
                <a:gd name="T65" fmla="*/ 74 h 1198"/>
                <a:gd name="T66" fmla="*/ 223 w 854"/>
                <a:gd name="T67" fmla="*/ 74 h 1198"/>
                <a:gd name="T68" fmla="*/ 223 w 854"/>
                <a:gd name="T69" fmla="*/ 76 h 1198"/>
                <a:gd name="T70" fmla="*/ 221 w 854"/>
                <a:gd name="T71" fmla="*/ 76 h 1198"/>
                <a:gd name="T72" fmla="*/ 217 w 854"/>
                <a:gd name="T73" fmla="*/ 76 h 1198"/>
                <a:gd name="T74" fmla="*/ 213 w 854"/>
                <a:gd name="T75" fmla="*/ 78 h 1198"/>
                <a:gd name="T76" fmla="*/ 208 w 854"/>
                <a:gd name="T77" fmla="*/ 81 h 1198"/>
                <a:gd name="T78" fmla="*/ 204 w 854"/>
                <a:gd name="T79" fmla="*/ 83 h 1198"/>
                <a:gd name="T80" fmla="*/ 198 w 854"/>
                <a:gd name="T81" fmla="*/ 91 h 1198"/>
                <a:gd name="T82" fmla="*/ 195 w 854"/>
                <a:gd name="T83" fmla="*/ 96 h 1198"/>
                <a:gd name="T84" fmla="*/ 187 w 854"/>
                <a:gd name="T85" fmla="*/ 112 h 1198"/>
                <a:gd name="T86" fmla="*/ 185 w 854"/>
                <a:gd name="T87" fmla="*/ 117 h 1198"/>
                <a:gd name="T88" fmla="*/ 178 w 854"/>
                <a:gd name="T89" fmla="*/ 163 h 1198"/>
                <a:gd name="T90" fmla="*/ 179 w 854"/>
                <a:gd name="T91" fmla="*/ 304 h 1198"/>
                <a:gd name="T92" fmla="*/ 195 w 854"/>
                <a:gd name="T93" fmla="*/ 382 h 1198"/>
                <a:gd name="T94" fmla="*/ 227 w 854"/>
                <a:gd name="T95" fmla="*/ 459 h 1198"/>
                <a:gd name="T96" fmla="*/ 280 w 854"/>
                <a:gd name="T97" fmla="*/ 512 h 1198"/>
                <a:gd name="T98" fmla="*/ 266 w 854"/>
                <a:gd name="T99" fmla="*/ 540 h 1198"/>
                <a:gd name="T100" fmla="*/ 215 w 854"/>
                <a:gd name="T101" fmla="*/ 574 h 1198"/>
                <a:gd name="T102" fmla="*/ 151 w 854"/>
                <a:gd name="T103" fmla="*/ 639 h 1198"/>
                <a:gd name="T104" fmla="*/ 102 w 854"/>
                <a:gd name="T105" fmla="*/ 712 h 1198"/>
                <a:gd name="T106" fmla="*/ 64 w 854"/>
                <a:gd name="T107" fmla="*/ 792 h 1198"/>
                <a:gd name="T108" fmla="*/ 25 w 854"/>
                <a:gd name="T109" fmla="*/ 930 h 1198"/>
                <a:gd name="T110" fmla="*/ 4 w 854"/>
                <a:gd name="T111" fmla="*/ 1077 h 1198"/>
                <a:gd name="T112" fmla="*/ 2 w 854"/>
                <a:gd name="T113" fmla="*/ 1196 h 1198"/>
                <a:gd name="T114" fmla="*/ 854 w 854"/>
                <a:gd name="T115" fmla="*/ 771 h 1198"/>
                <a:gd name="T116" fmla="*/ 846 w 854"/>
                <a:gd name="T117" fmla="*/ 718 h 1198"/>
                <a:gd name="T118" fmla="*/ 825 w 854"/>
                <a:gd name="T119" fmla="*/ 663 h 1198"/>
                <a:gd name="T120" fmla="*/ 780 w 854"/>
                <a:gd name="T121" fmla="*/ 593 h 1198"/>
                <a:gd name="T122" fmla="*/ 721 w 854"/>
                <a:gd name="T123" fmla="*/ 535 h 1198"/>
                <a:gd name="T124" fmla="*/ 687 w 854"/>
                <a:gd name="T125" fmla="*/ 510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4" h="1198">
                  <a:moveTo>
                    <a:pt x="687" y="510"/>
                  </a:moveTo>
                  <a:lnTo>
                    <a:pt x="687" y="510"/>
                  </a:lnTo>
                  <a:lnTo>
                    <a:pt x="672" y="503"/>
                  </a:lnTo>
                  <a:lnTo>
                    <a:pt x="655" y="495"/>
                  </a:lnTo>
                  <a:lnTo>
                    <a:pt x="640" y="488"/>
                  </a:lnTo>
                  <a:lnTo>
                    <a:pt x="623" y="482"/>
                  </a:lnTo>
                  <a:lnTo>
                    <a:pt x="587" y="474"/>
                  </a:lnTo>
                  <a:lnTo>
                    <a:pt x="551" y="471"/>
                  </a:lnTo>
                  <a:lnTo>
                    <a:pt x="551" y="471"/>
                  </a:lnTo>
                  <a:lnTo>
                    <a:pt x="563" y="457"/>
                  </a:lnTo>
                  <a:lnTo>
                    <a:pt x="570" y="444"/>
                  </a:lnTo>
                  <a:lnTo>
                    <a:pt x="580" y="429"/>
                  </a:lnTo>
                  <a:lnTo>
                    <a:pt x="585" y="412"/>
                  </a:lnTo>
                  <a:lnTo>
                    <a:pt x="593" y="393"/>
                  </a:lnTo>
                  <a:lnTo>
                    <a:pt x="597" y="372"/>
                  </a:lnTo>
                  <a:lnTo>
                    <a:pt x="601" y="352"/>
                  </a:lnTo>
                  <a:lnTo>
                    <a:pt x="602" y="327"/>
                  </a:lnTo>
                  <a:lnTo>
                    <a:pt x="602" y="327"/>
                  </a:lnTo>
                  <a:lnTo>
                    <a:pt x="604" y="265"/>
                  </a:lnTo>
                  <a:lnTo>
                    <a:pt x="602" y="210"/>
                  </a:lnTo>
                  <a:lnTo>
                    <a:pt x="601" y="187"/>
                  </a:lnTo>
                  <a:lnTo>
                    <a:pt x="597" y="166"/>
                  </a:lnTo>
                  <a:lnTo>
                    <a:pt x="591" y="147"/>
                  </a:lnTo>
                  <a:lnTo>
                    <a:pt x="585" y="132"/>
                  </a:lnTo>
                  <a:lnTo>
                    <a:pt x="585" y="132"/>
                  </a:lnTo>
                  <a:lnTo>
                    <a:pt x="589" y="119"/>
                  </a:lnTo>
                  <a:lnTo>
                    <a:pt x="591" y="106"/>
                  </a:lnTo>
                  <a:lnTo>
                    <a:pt x="591" y="95"/>
                  </a:lnTo>
                  <a:lnTo>
                    <a:pt x="587" y="83"/>
                  </a:lnTo>
                  <a:lnTo>
                    <a:pt x="584" y="74"/>
                  </a:lnTo>
                  <a:lnTo>
                    <a:pt x="576" y="64"/>
                  </a:lnTo>
                  <a:lnTo>
                    <a:pt x="568" y="57"/>
                  </a:lnTo>
                  <a:lnTo>
                    <a:pt x="559" y="49"/>
                  </a:lnTo>
                  <a:lnTo>
                    <a:pt x="538" y="36"/>
                  </a:lnTo>
                  <a:lnTo>
                    <a:pt x="514" y="25"/>
                  </a:lnTo>
                  <a:lnTo>
                    <a:pt x="489" y="17"/>
                  </a:lnTo>
                  <a:lnTo>
                    <a:pt x="467" y="11"/>
                  </a:lnTo>
                  <a:lnTo>
                    <a:pt x="467" y="11"/>
                  </a:lnTo>
                  <a:lnTo>
                    <a:pt x="433" y="6"/>
                  </a:lnTo>
                  <a:lnTo>
                    <a:pt x="433" y="6"/>
                  </a:lnTo>
                  <a:lnTo>
                    <a:pt x="429" y="6"/>
                  </a:lnTo>
                  <a:lnTo>
                    <a:pt x="429" y="6"/>
                  </a:lnTo>
                  <a:lnTo>
                    <a:pt x="419" y="4"/>
                  </a:lnTo>
                  <a:lnTo>
                    <a:pt x="419" y="4"/>
                  </a:lnTo>
                  <a:lnTo>
                    <a:pt x="393" y="2"/>
                  </a:lnTo>
                  <a:lnTo>
                    <a:pt x="393" y="2"/>
                  </a:lnTo>
                  <a:lnTo>
                    <a:pt x="393" y="2"/>
                  </a:lnTo>
                  <a:lnTo>
                    <a:pt x="393" y="2"/>
                  </a:lnTo>
                  <a:lnTo>
                    <a:pt x="385" y="0"/>
                  </a:lnTo>
                  <a:lnTo>
                    <a:pt x="385" y="0"/>
                  </a:lnTo>
                  <a:lnTo>
                    <a:pt x="357" y="0"/>
                  </a:lnTo>
                  <a:lnTo>
                    <a:pt x="357" y="0"/>
                  </a:lnTo>
                  <a:lnTo>
                    <a:pt x="349" y="0"/>
                  </a:lnTo>
                  <a:lnTo>
                    <a:pt x="349" y="0"/>
                  </a:lnTo>
                  <a:lnTo>
                    <a:pt x="332" y="2"/>
                  </a:lnTo>
                  <a:lnTo>
                    <a:pt x="332" y="2"/>
                  </a:lnTo>
                  <a:lnTo>
                    <a:pt x="323" y="2"/>
                  </a:lnTo>
                  <a:lnTo>
                    <a:pt x="323" y="2"/>
                  </a:lnTo>
                  <a:lnTo>
                    <a:pt x="308" y="4"/>
                  </a:lnTo>
                  <a:lnTo>
                    <a:pt x="308" y="4"/>
                  </a:lnTo>
                  <a:lnTo>
                    <a:pt x="302" y="6"/>
                  </a:lnTo>
                  <a:lnTo>
                    <a:pt x="302" y="6"/>
                  </a:lnTo>
                  <a:lnTo>
                    <a:pt x="289" y="10"/>
                  </a:lnTo>
                  <a:lnTo>
                    <a:pt x="289" y="10"/>
                  </a:lnTo>
                  <a:lnTo>
                    <a:pt x="283" y="11"/>
                  </a:lnTo>
                  <a:lnTo>
                    <a:pt x="283" y="11"/>
                  </a:lnTo>
                  <a:lnTo>
                    <a:pt x="268" y="17"/>
                  </a:lnTo>
                  <a:lnTo>
                    <a:pt x="268" y="17"/>
                  </a:lnTo>
                  <a:lnTo>
                    <a:pt x="266" y="19"/>
                  </a:lnTo>
                  <a:lnTo>
                    <a:pt x="266" y="19"/>
                  </a:lnTo>
                  <a:lnTo>
                    <a:pt x="257" y="25"/>
                  </a:lnTo>
                  <a:lnTo>
                    <a:pt x="257" y="25"/>
                  </a:lnTo>
                  <a:lnTo>
                    <a:pt x="253" y="28"/>
                  </a:lnTo>
                  <a:lnTo>
                    <a:pt x="253" y="28"/>
                  </a:lnTo>
                  <a:lnTo>
                    <a:pt x="246" y="32"/>
                  </a:lnTo>
                  <a:lnTo>
                    <a:pt x="246" y="32"/>
                  </a:lnTo>
                  <a:lnTo>
                    <a:pt x="244" y="36"/>
                  </a:lnTo>
                  <a:lnTo>
                    <a:pt x="244" y="36"/>
                  </a:lnTo>
                  <a:lnTo>
                    <a:pt x="238" y="42"/>
                  </a:lnTo>
                  <a:lnTo>
                    <a:pt x="238" y="42"/>
                  </a:lnTo>
                  <a:lnTo>
                    <a:pt x="236" y="44"/>
                  </a:lnTo>
                  <a:lnTo>
                    <a:pt x="236" y="44"/>
                  </a:lnTo>
                  <a:lnTo>
                    <a:pt x="232" y="49"/>
                  </a:lnTo>
                  <a:lnTo>
                    <a:pt x="232" y="49"/>
                  </a:lnTo>
                  <a:lnTo>
                    <a:pt x="230" y="51"/>
                  </a:lnTo>
                  <a:lnTo>
                    <a:pt x="230" y="51"/>
                  </a:lnTo>
                  <a:lnTo>
                    <a:pt x="227" y="59"/>
                  </a:lnTo>
                  <a:lnTo>
                    <a:pt x="227" y="59"/>
                  </a:lnTo>
                  <a:lnTo>
                    <a:pt x="227" y="61"/>
                  </a:lnTo>
                  <a:lnTo>
                    <a:pt x="227" y="61"/>
                  </a:lnTo>
                  <a:lnTo>
                    <a:pt x="225" y="64"/>
                  </a:lnTo>
                  <a:lnTo>
                    <a:pt x="225" y="64"/>
                  </a:lnTo>
                  <a:lnTo>
                    <a:pt x="225" y="66"/>
                  </a:lnTo>
                  <a:lnTo>
                    <a:pt x="225" y="66"/>
                  </a:lnTo>
                  <a:lnTo>
                    <a:pt x="223" y="70"/>
                  </a:lnTo>
                  <a:lnTo>
                    <a:pt x="223" y="70"/>
                  </a:lnTo>
                  <a:lnTo>
                    <a:pt x="223" y="72"/>
                  </a:lnTo>
                  <a:lnTo>
                    <a:pt x="223" y="72"/>
                  </a:lnTo>
                  <a:lnTo>
                    <a:pt x="223" y="74"/>
                  </a:lnTo>
                  <a:lnTo>
                    <a:pt x="223" y="74"/>
                  </a:lnTo>
                  <a:lnTo>
                    <a:pt x="223" y="74"/>
                  </a:lnTo>
                  <a:lnTo>
                    <a:pt x="223" y="74"/>
                  </a:lnTo>
                  <a:lnTo>
                    <a:pt x="223" y="76"/>
                  </a:lnTo>
                  <a:lnTo>
                    <a:pt x="223" y="76"/>
                  </a:lnTo>
                  <a:lnTo>
                    <a:pt x="223" y="76"/>
                  </a:lnTo>
                  <a:lnTo>
                    <a:pt x="223" y="76"/>
                  </a:lnTo>
                  <a:lnTo>
                    <a:pt x="221" y="76"/>
                  </a:lnTo>
                  <a:lnTo>
                    <a:pt x="221" y="76"/>
                  </a:lnTo>
                  <a:lnTo>
                    <a:pt x="219" y="76"/>
                  </a:lnTo>
                  <a:lnTo>
                    <a:pt x="219" y="76"/>
                  </a:lnTo>
                  <a:lnTo>
                    <a:pt x="217" y="76"/>
                  </a:lnTo>
                  <a:lnTo>
                    <a:pt x="217" y="76"/>
                  </a:lnTo>
                  <a:lnTo>
                    <a:pt x="213" y="78"/>
                  </a:lnTo>
                  <a:lnTo>
                    <a:pt x="213" y="78"/>
                  </a:lnTo>
                  <a:lnTo>
                    <a:pt x="212" y="79"/>
                  </a:lnTo>
                  <a:lnTo>
                    <a:pt x="212" y="79"/>
                  </a:lnTo>
                  <a:lnTo>
                    <a:pt x="208" y="81"/>
                  </a:lnTo>
                  <a:lnTo>
                    <a:pt x="208" y="81"/>
                  </a:lnTo>
                  <a:lnTo>
                    <a:pt x="204" y="83"/>
                  </a:lnTo>
                  <a:lnTo>
                    <a:pt x="204" y="83"/>
                  </a:lnTo>
                  <a:lnTo>
                    <a:pt x="200" y="87"/>
                  </a:lnTo>
                  <a:lnTo>
                    <a:pt x="200" y="87"/>
                  </a:lnTo>
                  <a:lnTo>
                    <a:pt x="198" y="91"/>
                  </a:lnTo>
                  <a:lnTo>
                    <a:pt x="198" y="91"/>
                  </a:lnTo>
                  <a:lnTo>
                    <a:pt x="195" y="96"/>
                  </a:lnTo>
                  <a:lnTo>
                    <a:pt x="195" y="96"/>
                  </a:lnTo>
                  <a:lnTo>
                    <a:pt x="191" y="102"/>
                  </a:lnTo>
                  <a:lnTo>
                    <a:pt x="191" y="102"/>
                  </a:lnTo>
                  <a:lnTo>
                    <a:pt x="187" y="112"/>
                  </a:lnTo>
                  <a:lnTo>
                    <a:pt x="187" y="112"/>
                  </a:lnTo>
                  <a:lnTo>
                    <a:pt x="185" y="117"/>
                  </a:lnTo>
                  <a:lnTo>
                    <a:pt x="185" y="117"/>
                  </a:lnTo>
                  <a:lnTo>
                    <a:pt x="179" y="138"/>
                  </a:lnTo>
                  <a:lnTo>
                    <a:pt x="179" y="138"/>
                  </a:lnTo>
                  <a:lnTo>
                    <a:pt x="178" y="163"/>
                  </a:lnTo>
                  <a:lnTo>
                    <a:pt x="176" y="189"/>
                  </a:lnTo>
                  <a:lnTo>
                    <a:pt x="176" y="248"/>
                  </a:lnTo>
                  <a:lnTo>
                    <a:pt x="179" y="304"/>
                  </a:lnTo>
                  <a:lnTo>
                    <a:pt x="187" y="352"/>
                  </a:lnTo>
                  <a:lnTo>
                    <a:pt x="187" y="352"/>
                  </a:lnTo>
                  <a:lnTo>
                    <a:pt x="195" y="382"/>
                  </a:lnTo>
                  <a:lnTo>
                    <a:pt x="202" y="410"/>
                  </a:lnTo>
                  <a:lnTo>
                    <a:pt x="213" y="437"/>
                  </a:lnTo>
                  <a:lnTo>
                    <a:pt x="227" y="459"/>
                  </a:lnTo>
                  <a:lnTo>
                    <a:pt x="242" y="480"/>
                  </a:lnTo>
                  <a:lnTo>
                    <a:pt x="259" y="497"/>
                  </a:lnTo>
                  <a:lnTo>
                    <a:pt x="280" y="512"/>
                  </a:lnTo>
                  <a:lnTo>
                    <a:pt x="302" y="523"/>
                  </a:lnTo>
                  <a:lnTo>
                    <a:pt x="302" y="523"/>
                  </a:lnTo>
                  <a:lnTo>
                    <a:pt x="266" y="540"/>
                  </a:lnTo>
                  <a:lnTo>
                    <a:pt x="266" y="540"/>
                  </a:lnTo>
                  <a:lnTo>
                    <a:pt x="240" y="557"/>
                  </a:lnTo>
                  <a:lnTo>
                    <a:pt x="215" y="574"/>
                  </a:lnTo>
                  <a:lnTo>
                    <a:pt x="193" y="595"/>
                  </a:lnTo>
                  <a:lnTo>
                    <a:pt x="172" y="616"/>
                  </a:lnTo>
                  <a:lnTo>
                    <a:pt x="151" y="639"/>
                  </a:lnTo>
                  <a:lnTo>
                    <a:pt x="134" y="661"/>
                  </a:lnTo>
                  <a:lnTo>
                    <a:pt x="117" y="686"/>
                  </a:lnTo>
                  <a:lnTo>
                    <a:pt x="102" y="712"/>
                  </a:lnTo>
                  <a:lnTo>
                    <a:pt x="89" y="739"/>
                  </a:lnTo>
                  <a:lnTo>
                    <a:pt x="76" y="765"/>
                  </a:lnTo>
                  <a:lnTo>
                    <a:pt x="64" y="792"/>
                  </a:lnTo>
                  <a:lnTo>
                    <a:pt x="55" y="820"/>
                  </a:lnTo>
                  <a:lnTo>
                    <a:pt x="38" y="875"/>
                  </a:lnTo>
                  <a:lnTo>
                    <a:pt x="25" y="930"/>
                  </a:lnTo>
                  <a:lnTo>
                    <a:pt x="15" y="982"/>
                  </a:lnTo>
                  <a:lnTo>
                    <a:pt x="8" y="1032"/>
                  </a:lnTo>
                  <a:lnTo>
                    <a:pt x="4" y="1077"/>
                  </a:lnTo>
                  <a:lnTo>
                    <a:pt x="2" y="1117"/>
                  </a:lnTo>
                  <a:lnTo>
                    <a:pt x="0" y="1175"/>
                  </a:lnTo>
                  <a:lnTo>
                    <a:pt x="2" y="1196"/>
                  </a:lnTo>
                  <a:lnTo>
                    <a:pt x="493" y="1198"/>
                  </a:lnTo>
                  <a:lnTo>
                    <a:pt x="854" y="771"/>
                  </a:lnTo>
                  <a:lnTo>
                    <a:pt x="854" y="771"/>
                  </a:lnTo>
                  <a:lnTo>
                    <a:pt x="854" y="754"/>
                  </a:lnTo>
                  <a:lnTo>
                    <a:pt x="852" y="735"/>
                  </a:lnTo>
                  <a:lnTo>
                    <a:pt x="846" y="718"/>
                  </a:lnTo>
                  <a:lnTo>
                    <a:pt x="840" y="699"/>
                  </a:lnTo>
                  <a:lnTo>
                    <a:pt x="835" y="682"/>
                  </a:lnTo>
                  <a:lnTo>
                    <a:pt x="825" y="663"/>
                  </a:lnTo>
                  <a:lnTo>
                    <a:pt x="816" y="646"/>
                  </a:lnTo>
                  <a:lnTo>
                    <a:pt x="805" y="627"/>
                  </a:lnTo>
                  <a:lnTo>
                    <a:pt x="780" y="593"/>
                  </a:lnTo>
                  <a:lnTo>
                    <a:pt x="752" y="563"/>
                  </a:lnTo>
                  <a:lnTo>
                    <a:pt x="737" y="548"/>
                  </a:lnTo>
                  <a:lnTo>
                    <a:pt x="721" y="535"/>
                  </a:lnTo>
                  <a:lnTo>
                    <a:pt x="704" y="522"/>
                  </a:lnTo>
                  <a:lnTo>
                    <a:pt x="687" y="510"/>
                  </a:lnTo>
                  <a:lnTo>
                    <a:pt x="687" y="5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45" name="Freeform 107">
              <a:extLst>
                <a:ext uri="{FF2B5EF4-FFF2-40B4-BE49-F238E27FC236}">
                  <a16:creationId xmlns:a16="http://schemas.microsoft.com/office/drawing/2014/main" id="{7A2267F1-901F-C920-CD14-3057AEF62A28}"/>
                </a:ext>
              </a:extLst>
            </p:cNvPr>
            <p:cNvSpPr>
              <a:spLocks/>
            </p:cNvSpPr>
            <p:nvPr/>
          </p:nvSpPr>
          <p:spPr bwMode="auto">
            <a:xfrm>
              <a:off x="16313150" y="2784478"/>
              <a:ext cx="1079500" cy="1689097"/>
            </a:xfrm>
            <a:custGeom>
              <a:avLst/>
              <a:gdLst>
                <a:gd name="T0" fmla="*/ 472 w 680"/>
                <a:gd name="T1" fmla="*/ 786 h 1064"/>
                <a:gd name="T2" fmla="*/ 510 w 680"/>
                <a:gd name="T3" fmla="*/ 746 h 1064"/>
                <a:gd name="T4" fmla="*/ 495 w 680"/>
                <a:gd name="T5" fmla="*/ 658 h 1064"/>
                <a:gd name="T6" fmla="*/ 500 w 680"/>
                <a:gd name="T7" fmla="*/ 497 h 1064"/>
                <a:gd name="T8" fmla="*/ 508 w 680"/>
                <a:gd name="T9" fmla="*/ 450 h 1064"/>
                <a:gd name="T10" fmla="*/ 517 w 680"/>
                <a:gd name="T11" fmla="*/ 389 h 1064"/>
                <a:gd name="T12" fmla="*/ 546 w 680"/>
                <a:gd name="T13" fmla="*/ 354 h 1064"/>
                <a:gd name="T14" fmla="*/ 625 w 680"/>
                <a:gd name="T15" fmla="*/ 314 h 1064"/>
                <a:gd name="T16" fmla="*/ 674 w 680"/>
                <a:gd name="T17" fmla="*/ 303 h 1064"/>
                <a:gd name="T18" fmla="*/ 674 w 680"/>
                <a:gd name="T19" fmla="*/ 138 h 1064"/>
                <a:gd name="T20" fmla="*/ 666 w 680"/>
                <a:gd name="T21" fmla="*/ 112 h 1064"/>
                <a:gd name="T22" fmla="*/ 661 w 680"/>
                <a:gd name="T23" fmla="*/ 99 h 1064"/>
                <a:gd name="T24" fmla="*/ 653 w 680"/>
                <a:gd name="T25" fmla="*/ 87 h 1064"/>
                <a:gd name="T26" fmla="*/ 646 w 680"/>
                <a:gd name="T27" fmla="*/ 82 h 1064"/>
                <a:gd name="T28" fmla="*/ 640 w 680"/>
                <a:gd name="T29" fmla="*/ 78 h 1064"/>
                <a:gd name="T30" fmla="*/ 634 w 680"/>
                <a:gd name="T31" fmla="*/ 78 h 1064"/>
                <a:gd name="T32" fmla="*/ 632 w 680"/>
                <a:gd name="T33" fmla="*/ 76 h 1064"/>
                <a:gd name="T34" fmla="*/ 632 w 680"/>
                <a:gd name="T35" fmla="*/ 76 h 1064"/>
                <a:gd name="T36" fmla="*/ 631 w 680"/>
                <a:gd name="T37" fmla="*/ 72 h 1064"/>
                <a:gd name="T38" fmla="*/ 631 w 680"/>
                <a:gd name="T39" fmla="*/ 68 h 1064"/>
                <a:gd name="T40" fmla="*/ 629 w 680"/>
                <a:gd name="T41" fmla="*/ 61 h 1064"/>
                <a:gd name="T42" fmla="*/ 623 w 680"/>
                <a:gd name="T43" fmla="*/ 53 h 1064"/>
                <a:gd name="T44" fmla="*/ 617 w 680"/>
                <a:gd name="T45" fmla="*/ 44 h 1064"/>
                <a:gd name="T46" fmla="*/ 612 w 680"/>
                <a:gd name="T47" fmla="*/ 36 h 1064"/>
                <a:gd name="T48" fmla="*/ 602 w 680"/>
                <a:gd name="T49" fmla="*/ 29 h 1064"/>
                <a:gd name="T50" fmla="*/ 587 w 680"/>
                <a:gd name="T51" fmla="*/ 19 h 1064"/>
                <a:gd name="T52" fmla="*/ 570 w 680"/>
                <a:gd name="T53" fmla="*/ 12 h 1064"/>
                <a:gd name="T54" fmla="*/ 553 w 680"/>
                <a:gd name="T55" fmla="*/ 8 h 1064"/>
                <a:gd name="T56" fmla="*/ 530 w 680"/>
                <a:gd name="T57" fmla="*/ 4 h 1064"/>
                <a:gd name="T58" fmla="*/ 504 w 680"/>
                <a:gd name="T59" fmla="*/ 2 h 1064"/>
                <a:gd name="T60" fmla="*/ 468 w 680"/>
                <a:gd name="T61" fmla="*/ 2 h 1064"/>
                <a:gd name="T62" fmla="*/ 436 w 680"/>
                <a:gd name="T63" fmla="*/ 6 h 1064"/>
                <a:gd name="T64" fmla="*/ 387 w 680"/>
                <a:gd name="T65" fmla="*/ 14 h 1064"/>
                <a:gd name="T66" fmla="*/ 317 w 680"/>
                <a:gd name="T67" fmla="*/ 36 h 1064"/>
                <a:gd name="T68" fmla="*/ 272 w 680"/>
                <a:gd name="T69" fmla="*/ 74 h 1064"/>
                <a:gd name="T70" fmla="*/ 264 w 680"/>
                <a:gd name="T71" fmla="*/ 119 h 1064"/>
                <a:gd name="T72" fmla="*/ 258 w 680"/>
                <a:gd name="T73" fmla="*/ 167 h 1064"/>
                <a:gd name="T74" fmla="*/ 251 w 680"/>
                <a:gd name="T75" fmla="*/ 327 h 1064"/>
                <a:gd name="T76" fmla="*/ 262 w 680"/>
                <a:gd name="T77" fmla="*/ 393 h 1064"/>
                <a:gd name="T78" fmla="*/ 292 w 680"/>
                <a:gd name="T79" fmla="*/ 459 h 1064"/>
                <a:gd name="T80" fmla="*/ 232 w 680"/>
                <a:gd name="T81" fmla="*/ 484 h 1064"/>
                <a:gd name="T82" fmla="*/ 166 w 680"/>
                <a:gd name="T83" fmla="*/ 512 h 1064"/>
                <a:gd name="T84" fmla="*/ 117 w 680"/>
                <a:gd name="T85" fmla="*/ 550 h 1064"/>
                <a:gd name="T86" fmla="*/ 37 w 680"/>
                <a:gd name="T87" fmla="*/ 646 h 1064"/>
                <a:gd name="T88" fmla="*/ 7 w 680"/>
                <a:gd name="T89" fmla="*/ 718 h 1064"/>
                <a:gd name="T90" fmla="*/ 247 w 680"/>
                <a:gd name="T91" fmla="*/ 1064 h 1064"/>
                <a:gd name="T92" fmla="*/ 268 w 680"/>
                <a:gd name="T93" fmla="*/ 992 h 1064"/>
                <a:gd name="T94" fmla="*/ 362 w 680"/>
                <a:gd name="T95" fmla="*/ 860 h 1064"/>
                <a:gd name="T96" fmla="*/ 427 w 680"/>
                <a:gd name="T97" fmla="*/ 809 h 1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0" h="1064">
                  <a:moveTo>
                    <a:pt x="427" y="809"/>
                  </a:moveTo>
                  <a:lnTo>
                    <a:pt x="427" y="809"/>
                  </a:lnTo>
                  <a:lnTo>
                    <a:pt x="449" y="797"/>
                  </a:lnTo>
                  <a:lnTo>
                    <a:pt x="472" y="786"/>
                  </a:lnTo>
                  <a:lnTo>
                    <a:pt x="495" y="779"/>
                  </a:lnTo>
                  <a:lnTo>
                    <a:pt x="519" y="771"/>
                  </a:lnTo>
                  <a:lnTo>
                    <a:pt x="519" y="771"/>
                  </a:lnTo>
                  <a:lnTo>
                    <a:pt x="510" y="746"/>
                  </a:lnTo>
                  <a:lnTo>
                    <a:pt x="502" y="718"/>
                  </a:lnTo>
                  <a:lnTo>
                    <a:pt x="496" y="690"/>
                  </a:lnTo>
                  <a:lnTo>
                    <a:pt x="495" y="658"/>
                  </a:lnTo>
                  <a:lnTo>
                    <a:pt x="495" y="658"/>
                  </a:lnTo>
                  <a:lnTo>
                    <a:pt x="493" y="593"/>
                  </a:lnTo>
                  <a:lnTo>
                    <a:pt x="495" y="541"/>
                  </a:lnTo>
                  <a:lnTo>
                    <a:pt x="496" y="518"/>
                  </a:lnTo>
                  <a:lnTo>
                    <a:pt x="500" y="497"/>
                  </a:lnTo>
                  <a:lnTo>
                    <a:pt x="504" y="478"/>
                  </a:lnTo>
                  <a:lnTo>
                    <a:pt x="510" y="461"/>
                  </a:lnTo>
                  <a:lnTo>
                    <a:pt x="510" y="461"/>
                  </a:lnTo>
                  <a:lnTo>
                    <a:pt x="508" y="450"/>
                  </a:lnTo>
                  <a:lnTo>
                    <a:pt x="506" y="439"/>
                  </a:lnTo>
                  <a:lnTo>
                    <a:pt x="508" y="420"/>
                  </a:lnTo>
                  <a:lnTo>
                    <a:pt x="512" y="403"/>
                  </a:lnTo>
                  <a:lnTo>
                    <a:pt x="517" y="389"/>
                  </a:lnTo>
                  <a:lnTo>
                    <a:pt x="517" y="389"/>
                  </a:lnTo>
                  <a:lnTo>
                    <a:pt x="523" y="378"/>
                  </a:lnTo>
                  <a:lnTo>
                    <a:pt x="530" y="371"/>
                  </a:lnTo>
                  <a:lnTo>
                    <a:pt x="546" y="354"/>
                  </a:lnTo>
                  <a:lnTo>
                    <a:pt x="564" y="340"/>
                  </a:lnTo>
                  <a:lnTo>
                    <a:pt x="583" y="329"/>
                  </a:lnTo>
                  <a:lnTo>
                    <a:pt x="604" y="321"/>
                  </a:lnTo>
                  <a:lnTo>
                    <a:pt x="625" y="314"/>
                  </a:lnTo>
                  <a:lnTo>
                    <a:pt x="661" y="304"/>
                  </a:lnTo>
                  <a:lnTo>
                    <a:pt x="661" y="304"/>
                  </a:lnTo>
                  <a:lnTo>
                    <a:pt x="674" y="303"/>
                  </a:lnTo>
                  <a:lnTo>
                    <a:pt x="674" y="303"/>
                  </a:lnTo>
                  <a:lnTo>
                    <a:pt x="678" y="261"/>
                  </a:lnTo>
                  <a:lnTo>
                    <a:pt x="680" y="218"/>
                  </a:lnTo>
                  <a:lnTo>
                    <a:pt x="678" y="176"/>
                  </a:lnTo>
                  <a:lnTo>
                    <a:pt x="674" y="138"/>
                  </a:lnTo>
                  <a:lnTo>
                    <a:pt x="674" y="138"/>
                  </a:lnTo>
                  <a:lnTo>
                    <a:pt x="670" y="119"/>
                  </a:lnTo>
                  <a:lnTo>
                    <a:pt x="670" y="119"/>
                  </a:lnTo>
                  <a:lnTo>
                    <a:pt x="666" y="112"/>
                  </a:lnTo>
                  <a:lnTo>
                    <a:pt x="666" y="112"/>
                  </a:lnTo>
                  <a:lnTo>
                    <a:pt x="663" y="102"/>
                  </a:lnTo>
                  <a:lnTo>
                    <a:pt x="663" y="102"/>
                  </a:lnTo>
                  <a:lnTo>
                    <a:pt x="661" y="99"/>
                  </a:lnTo>
                  <a:lnTo>
                    <a:pt x="661" y="99"/>
                  </a:lnTo>
                  <a:lnTo>
                    <a:pt x="657" y="91"/>
                  </a:lnTo>
                  <a:lnTo>
                    <a:pt x="657" y="91"/>
                  </a:lnTo>
                  <a:lnTo>
                    <a:pt x="653" y="87"/>
                  </a:lnTo>
                  <a:lnTo>
                    <a:pt x="653" y="87"/>
                  </a:lnTo>
                  <a:lnTo>
                    <a:pt x="649" y="83"/>
                  </a:lnTo>
                  <a:lnTo>
                    <a:pt x="649" y="83"/>
                  </a:lnTo>
                  <a:lnTo>
                    <a:pt x="646" y="82"/>
                  </a:lnTo>
                  <a:lnTo>
                    <a:pt x="646" y="82"/>
                  </a:lnTo>
                  <a:lnTo>
                    <a:pt x="644" y="80"/>
                  </a:lnTo>
                  <a:lnTo>
                    <a:pt x="644" y="80"/>
                  </a:lnTo>
                  <a:lnTo>
                    <a:pt x="640" y="78"/>
                  </a:lnTo>
                  <a:lnTo>
                    <a:pt x="640" y="78"/>
                  </a:lnTo>
                  <a:lnTo>
                    <a:pt x="638" y="78"/>
                  </a:lnTo>
                  <a:lnTo>
                    <a:pt x="638" y="78"/>
                  </a:lnTo>
                  <a:lnTo>
                    <a:pt x="634" y="78"/>
                  </a:lnTo>
                  <a:lnTo>
                    <a:pt x="634" y="78"/>
                  </a:lnTo>
                  <a:lnTo>
                    <a:pt x="634" y="76"/>
                  </a:lnTo>
                  <a:lnTo>
                    <a:pt x="634" y="76"/>
                  </a:lnTo>
                  <a:lnTo>
                    <a:pt x="632" y="76"/>
                  </a:lnTo>
                  <a:lnTo>
                    <a:pt x="632" y="76"/>
                  </a:lnTo>
                  <a:lnTo>
                    <a:pt x="632" y="76"/>
                  </a:lnTo>
                  <a:lnTo>
                    <a:pt x="632" y="76"/>
                  </a:lnTo>
                  <a:lnTo>
                    <a:pt x="632" y="76"/>
                  </a:lnTo>
                  <a:lnTo>
                    <a:pt x="632" y="76"/>
                  </a:lnTo>
                  <a:lnTo>
                    <a:pt x="632" y="74"/>
                  </a:lnTo>
                  <a:lnTo>
                    <a:pt x="632" y="74"/>
                  </a:lnTo>
                  <a:lnTo>
                    <a:pt x="631" y="72"/>
                  </a:lnTo>
                  <a:lnTo>
                    <a:pt x="631" y="72"/>
                  </a:lnTo>
                  <a:lnTo>
                    <a:pt x="631" y="70"/>
                  </a:lnTo>
                  <a:lnTo>
                    <a:pt x="631" y="70"/>
                  </a:lnTo>
                  <a:lnTo>
                    <a:pt x="631" y="68"/>
                  </a:lnTo>
                  <a:lnTo>
                    <a:pt x="631" y="68"/>
                  </a:lnTo>
                  <a:lnTo>
                    <a:pt x="629" y="66"/>
                  </a:lnTo>
                  <a:lnTo>
                    <a:pt x="629" y="66"/>
                  </a:lnTo>
                  <a:lnTo>
                    <a:pt x="629" y="61"/>
                  </a:lnTo>
                  <a:lnTo>
                    <a:pt x="629" y="61"/>
                  </a:lnTo>
                  <a:lnTo>
                    <a:pt x="627" y="59"/>
                  </a:lnTo>
                  <a:lnTo>
                    <a:pt x="627" y="59"/>
                  </a:lnTo>
                  <a:lnTo>
                    <a:pt x="623" y="53"/>
                  </a:lnTo>
                  <a:lnTo>
                    <a:pt x="623" y="53"/>
                  </a:lnTo>
                  <a:lnTo>
                    <a:pt x="623" y="51"/>
                  </a:lnTo>
                  <a:lnTo>
                    <a:pt x="623" y="51"/>
                  </a:lnTo>
                  <a:lnTo>
                    <a:pt x="617" y="44"/>
                  </a:lnTo>
                  <a:lnTo>
                    <a:pt x="617" y="44"/>
                  </a:lnTo>
                  <a:lnTo>
                    <a:pt x="615" y="42"/>
                  </a:lnTo>
                  <a:lnTo>
                    <a:pt x="615" y="42"/>
                  </a:lnTo>
                  <a:lnTo>
                    <a:pt x="612" y="36"/>
                  </a:lnTo>
                  <a:lnTo>
                    <a:pt x="612" y="36"/>
                  </a:lnTo>
                  <a:lnTo>
                    <a:pt x="608" y="34"/>
                  </a:lnTo>
                  <a:lnTo>
                    <a:pt x="608" y="34"/>
                  </a:lnTo>
                  <a:lnTo>
                    <a:pt x="602" y="29"/>
                  </a:lnTo>
                  <a:lnTo>
                    <a:pt x="602" y="29"/>
                  </a:lnTo>
                  <a:lnTo>
                    <a:pt x="598" y="27"/>
                  </a:lnTo>
                  <a:lnTo>
                    <a:pt x="598" y="27"/>
                  </a:lnTo>
                  <a:lnTo>
                    <a:pt x="587" y="19"/>
                  </a:lnTo>
                  <a:lnTo>
                    <a:pt x="587" y="19"/>
                  </a:lnTo>
                  <a:lnTo>
                    <a:pt x="585" y="19"/>
                  </a:lnTo>
                  <a:lnTo>
                    <a:pt x="585" y="19"/>
                  </a:lnTo>
                  <a:lnTo>
                    <a:pt x="570" y="12"/>
                  </a:lnTo>
                  <a:lnTo>
                    <a:pt x="570" y="12"/>
                  </a:lnTo>
                  <a:lnTo>
                    <a:pt x="566" y="12"/>
                  </a:lnTo>
                  <a:lnTo>
                    <a:pt x="566" y="12"/>
                  </a:lnTo>
                  <a:lnTo>
                    <a:pt x="553" y="8"/>
                  </a:lnTo>
                  <a:lnTo>
                    <a:pt x="553" y="8"/>
                  </a:lnTo>
                  <a:lnTo>
                    <a:pt x="546" y="6"/>
                  </a:lnTo>
                  <a:lnTo>
                    <a:pt x="546" y="6"/>
                  </a:lnTo>
                  <a:lnTo>
                    <a:pt x="530" y="4"/>
                  </a:lnTo>
                  <a:lnTo>
                    <a:pt x="530" y="4"/>
                  </a:lnTo>
                  <a:lnTo>
                    <a:pt x="523" y="2"/>
                  </a:lnTo>
                  <a:lnTo>
                    <a:pt x="523" y="2"/>
                  </a:lnTo>
                  <a:lnTo>
                    <a:pt x="504" y="2"/>
                  </a:lnTo>
                  <a:lnTo>
                    <a:pt x="504" y="2"/>
                  </a:lnTo>
                  <a:lnTo>
                    <a:pt x="496" y="0"/>
                  </a:lnTo>
                  <a:lnTo>
                    <a:pt x="496" y="0"/>
                  </a:lnTo>
                  <a:lnTo>
                    <a:pt x="468" y="2"/>
                  </a:lnTo>
                  <a:lnTo>
                    <a:pt x="468" y="2"/>
                  </a:lnTo>
                  <a:lnTo>
                    <a:pt x="462" y="2"/>
                  </a:lnTo>
                  <a:lnTo>
                    <a:pt x="462" y="2"/>
                  </a:lnTo>
                  <a:lnTo>
                    <a:pt x="436" y="6"/>
                  </a:lnTo>
                  <a:lnTo>
                    <a:pt x="436" y="6"/>
                  </a:lnTo>
                  <a:lnTo>
                    <a:pt x="425" y="6"/>
                  </a:lnTo>
                  <a:lnTo>
                    <a:pt x="425" y="6"/>
                  </a:lnTo>
                  <a:lnTo>
                    <a:pt x="387" y="14"/>
                  </a:lnTo>
                  <a:lnTo>
                    <a:pt x="387" y="14"/>
                  </a:lnTo>
                  <a:lnTo>
                    <a:pt x="364" y="19"/>
                  </a:lnTo>
                  <a:lnTo>
                    <a:pt x="342" y="27"/>
                  </a:lnTo>
                  <a:lnTo>
                    <a:pt x="317" y="36"/>
                  </a:lnTo>
                  <a:lnTo>
                    <a:pt x="296" y="49"/>
                  </a:lnTo>
                  <a:lnTo>
                    <a:pt x="287" y="57"/>
                  </a:lnTo>
                  <a:lnTo>
                    <a:pt x="277" y="65"/>
                  </a:lnTo>
                  <a:lnTo>
                    <a:pt x="272" y="74"/>
                  </a:lnTo>
                  <a:lnTo>
                    <a:pt x="266" y="85"/>
                  </a:lnTo>
                  <a:lnTo>
                    <a:pt x="264" y="95"/>
                  </a:lnTo>
                  <a:lnTo>
                    <a:pt x="262" y="106"/>
                  </a:lnTo>
                  <a:lnTo>
                    <a:pt x="264" y="119"/>
                  </a:lnTo>
                  <a:lnTo>
                    <a:pt x="270" y="133"/>
                  </a:lnTo>
                  <a:lnTo>
                    <a:pt x="270" y="133"/>
                  </a:lnTo>
                  <a:lnTo>
                    <a:pt x="262" y="150"/>
                  </a:lnTo>
                  <a:lnTo>
                    <a:pt x="258" y="167"/>
                  </a:lnTo>
                  <a:lnTo>
                    <a:pt x="255" y="187"/>
                  </a:lnTo>
                  <a:lnTo>
                    <a:pt x="251" y="212"/>
                  </a:lnTo>
                  <a:lnTo>
                    <a:pt x="249" y="265"/>
                  </a:lnTo>
                  <a:lnTo>
                    <a:pt x="251" y="327"/>
                  </a:lnTo>
                  <a:lnTo>
                    <a:pt x="251" y="327"/>
                  </a:lnTo>
                  <a:lnTo>
                    <a:pt x="253" y="352"/>
                  </a:lnTo>
                  <a:lnTo>
                    <a:pt x="257" y="374"/>
                  </a:lnTo>
                  <a:lnTo>
                    <a:pt x="262" y="393"/>
                  </a:lnTo>
                  <a:lnTo>
                    <a:pt x="268" y="412"/>
                  </a:lnTo>
                  <a:lnTo>
                    <a:pt x="275" y="429"/>
                  </a:lnTo>
                  <a:lnTo>
                    <a:pt x="283" y="444"/>
                  </a:lnTo>
                  <a:lnTo>
                    <a:pt x="292" y="459"/>
                  </a:lnTo>
                  <a:lnTo>
                    <a:pt x="302" y="471"/>
                  </a:lnTo>
                  <a:lnTo>
                    <a:pt x="302" y="471"/>
                  </a:lnTo>
                  <a:lnTo>
                    <a:pt x="266" y="476"/>
                  </a:lnTo>
                  <a:lnTo>
                    <a:pt x="232" y="484"/>
                  </a:lnTo>
                  <a:lnTo>
                    <a:pt x="215" y="490"/>
                  </a:lnTo>
                  <a:lnTo>
                    <a:pt x="198" y="495"/>
                  </a:lnTo>
                  <a:lnTo>
                    <a:pt x="181" y="503"/>
                  </a:lnTo>
                  <a:lnTo>
                    <a:pt x="166" y="512"/>
                  </a:lnTo>
                  <a:lnTo>
                    <a:pt x="166" y="512"/>
                  </a:lnTo>
                  <a:lnTo>
                    <a:pt x="149" y="524"/>
                  </a:lnTo>
                  <a:lnTo>
                    <a:pt x="132" y="535"/>
                  </a:lnTo>
                  <a:lnTo>
                    <a:pt x="117" y="550"/>
                  </a:lnTo>
                  <a:lnTo>
                    <a:pt x="102" y="563"/>
                  </a:lnTo>
                  <a:lnTo>
                    <a:pt x="73" y="595"/>
                  </a:lnTo>
                  <a:lnTo>
                    <a:pt x="49" y="629"/>
                  </a:lnTo>
                  <a:lnTo>
                    <a:pt x="37" y="646"/>
                  </a:lnTo>
                  <a:lnTo>
                    <a:pt x="28" y="665"/>
                  </a:lnTo>
                  <a:lnTo>
                    <a:pt x="20" y="682"/>
                  </a:lnTo>
                  <a:lnTo>
                    <a:pt x="13" y="701"/>
                  </a:lnTo>
                  <a:lnTo>
                    <a:pt x="7" y="718"/>
                  </a:lnTo>
                  <a:lnTo>
                    <a:pt x="3" y="737"/>
                  </a:lnTo>
                  <a:lnTo>
                    <a:pt x="2" y="754"/>
                  </a:lnTo>
                  <a:lnTo>
                    <a:pt x="0" y="771"/>
                  </a:lnTo>
                  <a:lnTo>
                    <a:pt x="247" y="1064"/>
                  </a:lnTo>
                  <a:lnTo>
                    <a:pt x="247" y="1064"/>
                  </a:lnTo>
                  <a:lnTo>
                    <a:pt x="251" y="1045"/>
                  </a:lnTo>
                  <a:lnTo>
                    <a:pt x="255" y="1028"/>
                  </a:lnTo>
                  <a:lnTo>
                    <a:pt x="268" y="992"/>
                  </a:lnTo>
                  <a:lnTo>
                    <a:pt x="287" y="956"/>
                  </a:lnTo>
                  <a:lnTo>
                    <a:pt x="308" y="922"/>
                  </a:lnTo>
                  <a:lnTo>
                    <a:pt x="334" y="890"/>
                  </a:lnTo>
                  <a:lnTo>
                    <a:pt x="362" y="860"/>
                  </a:lnTo>
                  <a:lnTo>
                    <a:pt x="393" y="832"/>
                  </a:lnTo>
                  <a:lnTo>
                    <a:pt x="410" y="820"/>
                  </a:lnTo>
                  <a:lnTo>
                    <a:pt x="427" y="809"/>
                  </a:lnTo>
                  <a:lnTo>
                    <a:pt x="427" y="8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46" name="Freeform 108">
              <a:extLst>
                <a:ext uri="{FF2B5EF4-FFF2-40B4-BE49-F238E27FC236}">
                  <a16:creationId xmlns:a16="http://schemas.microsoft.com/office/drawing/2014/main" id="{3A301544-9854-E6C4-F9DB-AAFAE382EF27}"/>
                </a:ext>
              </a:extLst>
            </p:cNvPr>
            <p:cNvSpPr>
              <a:spLocks/>
            </p:cNvSpPr>
            <p:nvPr/>
          </p:nvSpPr>
          <p:spPr bwMode="auto">
            <a:xfrm>
              <a:off x="16759235" y="3309936"/>
              <a:ext cx="1079500" cy="1631954"/>
            </a:xfrm>
            <a:custGeom>
              <a:avLst/>
              <a:gdLst>
                <a:gd name="T0" fmla="*/ 678 w 680"/>
                <a:gd name="T1" fmla="*/ 270 h 1028"/>
                <a:gd name="T2" fmla="*/ 674 w 680"/>
                <a:gd name="T3" fmla="*/ 138 h 1028"/>
                <a:gd name="T4" fmla="*/ 667 w 680"/>
                <a:gd name="T5" fmla="*/ 109 h 1028"/>
                <a:gd name="T6" fmla="*/ 661 w 680"/>
                <a:gd name="T7" fmla="*/ 96 h 1028"/>
                <a:gd name="T8" fmla="*/ 654 w 680"/>
                <a:gd name="T9" fmla="*/ 87 h 1028"/>
                <a:gd name="T10" fmla="*/ 646 w 680"/>
                <a:gd name="T11" fmla="*/ 79 h 1028"/>
                <a:gd name="T12" fmla="*/ 640 w 680"/>
                <a:gd name="T13" fmla="*/ 77 h 1028"/>
                <a:gd name="T14" fmla="*/ 635 w 680"/>
                <a:gd name="T15" fmla="*/ 75 h 1028"/>
                <a:gd name="T16" fmla="*/ 633 w 680"/>
                <a:gd name="T17" fmla="*/ 75 h 1028"/>
                <a:gd name="T18" fmla="*/ 631 w 680"/>
                <a:gd name="T19" fmla="*/ 74 h 1028"/>
                <a:gd name="T20" fmla="*/ 631 w 680"/>
                <a:gd name="T21" fmla="*/ 70 h 1028"/>
                <a:gd name="T22" fmla="*/ 631 w 680"/>
                <a:gd name="T23" fmla="*/ 66 h 1028"/>
                <a:gd name="T24" fmla="*/ 627 w 680"/>
                <a:gd name="T25" fmla="*/ 58 h 1028"/>
                <a:gd name="T26" fmla="*/ 623 w 680"/>
                <a:gd name="T27" fmla="*/ 51 h 1028"/>
                <a:gd name="T28" fmla="*/ 618 w 680"/>
                <a:gd name="T29" fmla="*/ 43 h 1028"/>
                <a:gd name="T30" fmla="*/ 610 w 680"/>
                <a:gd name="T31" fmla="*/ 34 h 1028"/>
                <a:gd name="T32" fmla="*/ 601 w 680"/>
                <a:gd name="T33" fmla="*/ 26 h 1028"/>
                <a:gd name="T34" fmla="*/ 588 w 680"/>
                <a:gd name="T35" fmla="*/ 17 h 1028"/>
                <a:gd name="T36" fmla="*/ 571 w 680"/>
                <a:gd name="T37" fmla="*/ 11 h 1028"/>
                <a:gd name="T38" fmla="*/ 554 w 680"/>
                <a:gd name="T39" fmla="*/ 6 h 1028"/>
                <a:gd name="T40" fmla="*/ 531 w 680"/>
                <a:gd name="T41" fmla="*/ 2 h 1028"/>
                <a:gd name="T42" fmla="*/ 504 w 680"/>
                <a:gd name="T43" fmla="*/ 0 h 1028"/>
                <a:gd name="T44" fmla="*/ 469 w 680"/>
                <a:gd name="T45" fmla="*/ 0 h 1028"/>
                <a:gd name="T46" fmla="*/ 435 w 680"/>
                <a:gd name="T47" fmla="*/ 4 h 1028"/>
                <a:gd name="T48" fmla="*/ 389 w 680"/>
                <a:gd name="T49" fmla="*/ 11 h 1028"/>
                <a:gd name="T50" fmla="*/ 365 w 680"/>
                <a:gd name="T51" fmla="*/ 17 h 1028"/>
                <a:gd name="T52" fmla="*/ 285 w 680"/>
                <a:gd name="T53" fmla="*/ 55 h 1028"/>
                <a:gd name="T54" fmla="*/ 265 w 680"/>
                <a:gd name="T55" fmla="*/ 92 h 1028"/>
                <a:gd name="T56" fmla="*/ 270 w 680"/>
                <a:gd name="T57" fmla="*/ 132 h 1028"/>
                <a:gd name="T58" fmla="*/ 251 w 680"/>
                <a:gd name="T59" fmla="*/ 210 h 1028"/>
                <a:gd name="T60" fmla="*/ 253 w 680"/>
                <a:gd name="T61" fmla="*/ 349 h 1028"/>
                <a:gd name="T62" fmla="*/ 276 w 680"/>
                <a:gd name="T63" fmla="*/ 427 h 1028"/>
                <a:gd name="T64" fmla="*/ 302 w 680"/>
                <a:gd name="T65" fmla="*/ 470 h 1028"/>
                <a:gd name="T66" fmla="*/ 198 w 680"/>
                <a:gd name="T67" fmla="*/ 493 h 1028"/>
                <a:gd name="T68" fmla="*/ 149 w 680"/>
                <a:gd name="T69" fmla="*/ 521 h 1028"/>
                <a:gd name="T70" fmla="*/ 74 w 680"/>
                <a:gd name="T71" fmla="*/ 593 h 1028"/>
                <a:gd name="T72" fmla="*/ 21 w 680"/>
                <a:gd name="T73" fmla="*/ 680 h 1028"/>
                <a:gd name="T74" fmla="*/ 0 w 680"/>
                <a:gd name="T75" fmla="*/ 752 h 1028"/>
                <a:gd name="T76" fmla="*/ 227 w 680"/>
                <a:gd name="T77" fmla="*/ 994 h 1028"/>
                <a:gd name="T78" fmla="*/ 306 w 680"/>
                <a:gd name="T79" fmla="*/ 859 h 1028"/>
                <a:gd name="T80" fmla="*/ 397 w 680"/>
                <a:gd name="T81" fmla="*/ 780 h 1028"/>
                <a:gd name="T82" fmla="*/ 491 w 680"/>
                <a:gd name="T83" fmla="*/ 742 h 1028"/>
                <a:gd name="T84" fmla="*/ 469 w 680"/>
                <a:gd name="T85" fmla="*/ 661 h 1028"/>
                <a:gd name="T86" fmla="*/ 465 w 680"/>
                <a:gd name="T87" fmla="*/ 512 h 1028"/>
                <a:gd name="T88" fmla="*/ 480 w 680"/>
                <a:gd name="T89" fmla="*/ 432 h 1028"/>
                <a:gd name="T90" fmla="*/ 478 w 680"/>
                <a:gd name="T91" fmla="*/ 391 h 1028"/>
                <a:gd name="T92" fmla="*/ 493 w 680"/>
                <a:gd name="T93" fmla="*/ 351 h 1028"/>
                <a:gd name="T94" fmla="*/ 555 w 680"/>
                <a:gd name="T95" fmla="*/ 302 h 1028"/>
                <a:gd name="T96" fmla="*/ 631 w 680"/>
                <a:gd name="T97" fmla="*/ 278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0" h="1028">
                  <a:moveTo>
                    <a:pt x="631" y="278"/>
                  </a:moveTo>
                  <a:lnTo>
                    <a:pt x="631" y="278"/>
                  </a:lnTo>
                  <a:lnTo>
                    <a:pt x="678" y="270"/>
                  </a:lnTo>
                  <a:lnTo>
                    <a:pt x="678" y="270"/>
                  </a:lnTo>
                  <a:lnTo>
                    <a:pt x="678" y="234"/>
                  </a:lnTo>
                  <a:lnTo>
                    <a:pt x="680" y="200"/>
                  </a:lnTo>
                  <a:lnTo>
                    <a:pt x="678" y="166"/>
                  </a:lnTo>
                  <a:lnTo>
                    <a:pt x="674" y="138"/>
                  </a:lnTo>
                  <a:lnTo>
                    <a:pt x="674" y="138"/>
                  </a:lnTo>
                  <a:lnTo>
                    <a:pt x="669" y="117"/>
                  </a:lnTo>
                  <a:lnTo>
                    <a:pt x="669" y="117"/>
                  </a:lnTo>
                  <a:lnTo>
                    <a:pt x="667" y="109"/>
                  </a:lnTo>
                  <a:lnTo>
                    <a:pt x="667" y="109"/>
                  </a:lnTo>
                  <a:lnTo>
                    <a:pt x="663" y="102"/>
                  </a:lnTo>
                  <a:lnTo>
                    <a:pt x="663" y="102"/>
                  </a:lnTo>
                  <a:lnTo>
                    <a:pt x="661" y="96"/>
                  </a:lnTo>
                  <a:lnTo>
                    <a:pt x="661" y="96"/>
                  </a:lnTo>
                  <a:lnTo>
                    <a:pt x="657" y="91"/>
                  </a:lnTo>
                  <a:lnTo>
                    <a:pt x="657" y="91"/>
                  </a:lnTo>
                  <a:lnTo>
                    <a:pt x="654" y="87"/>
                  </a:lnTo>
                  <a:lnTo>
                    <a:pt x="654" y="87"/>
                  </a:lnTo>
                  <a:lnTo>
                    <a:pt x="650" y="83"/>
                  </a:lnTo>
                  <a:lnTo>
                    <a:pt x="650" y="83"/>
                  </a:lnTo>
                  <a:lnTo>
                    <a:pt x="646" y="79"/>
                  </a:lnTo>
                  <a:lnTo>
                    <a:pt x="646" y="79"/>
                  </a:lnTo>
                  <a:lnTo>
                    <a:pt x="642" y="77"/>
                  </a:lnTo>
                  <a:lnTo>
                    <a:pt x="642" y="77"/>
                  </a:lnTo>
                  <a:lnTo>
                    <a:pt x="640" y="77"/>
                  </a:lnTo>
                  <a:lnTo>
                    <a:pt x="640" y="77"/>
                  </a:lnTo>
                  <a:lnTo>
                    <a:pt x="637" y="75"/>
                  </a:lnTo>
                  <a:lnTo>
                    <a:pt x="637" y="75"/>
                  </a:lnTo>
                  <a:lnTo>
                    <a:pt x="635" y="75"/>
                  </a:lnTo>
                  <a:lnTo>
                    <a:pt x="635" y="75"/>
                  </a:lnTo>
                  <a:lnTo>
                    <a:pt x="633" y="75"/>
                  </a:lnTo>
                  <a:lnTo>
                    <a:pt x="633" y="75"/>
                  </a:lnTo>
                  <a:lnTo>
                    <a:pt x="633" y="75"/>
                  </a:lnTo>
                  <a:lnTo>
                    <a:pt x="633" y="75"/>
                  </a:lnTo>
                  <a:lnTo>
                    <a:pt x="631" y="75"/>
                  </a:lnTo>
                  <a:lnTo>
                    <a:pt x="631" y="75"/>
                  </a:lnTo>
                  <a:lnTo>
                    <a:pt x="631" y="74"/>
                  </a:lnTo>
                  <a:lnTo>
                    <a:pt x="631" y="74"/>
                  </a:lnTo>
                  <a:lnTo>
                    <a:pt x="631" y="74"/>
                  </a:lnTo>
                  <a:lnTo>
                    <a:pt x="631" y="74"/>
                  </a:lnTo>
                  <a:lnTo>
                    <a:pt x="631" y="70"/>
                  </a:lnTo>
                  <a:lnTo>
                    <a:pt x="631" y="70"/>
                  </a:lnTo>
                  <a:lnTo>
                    <a:pt x="631" y="70"/>
                  </a:lnTo>
                  <a:lnTo>
                    <a:pt x="631" y="70"/>
                  </a:lnTo>
                  <a:lnTo>
                    <a:pt x="631" y="66"/>
                  </a:lnTo>
                  <a:lnTo>
                    <a:pt x="631" y="66"/>
                  </a:lnTo>
                  <a:lnTo>
                    <a:pt x="629" y="64"/>
                  </a:lnTo>
                  <a:lnTo>
                    <a:pt x="629" y="64"/>
                  </a:lnTo>
                  <a:lnTo>
                    <a:pt x="627" y="58"/>
                  </a:lnTo>
                  <a:lnTo>
                    <a:pt x="627" y="58"/>
                  </a:lnTo>
                  <a:lnTo>
                    <a:pt x="627" y="58"/>
                  </a:lnTo>
                  <a:lnTo>
                    <a:pt x="627" y="58"/>
                  </a:lnTo>
                  <a:lnTo>
                    <a:pt x="623" y="51"/>
                  </a:lnTo>
                  <a:lnTo>
                    <a:pt x="623" y="51"/>
                  </a:lnTo>
                  <a:lnTo>
                    <a:pt x="623" y="49"/>
                  </a:lnTo>
                  <a:lnTo>
                    <a:pt x="623" y="49"/>
                  </a:lnTo>
                  <a:lnTo>
                    <a:pt x="618" y="43"/>
                  </a:lnTo>
                  <a:lnTo>
                    <a:pt x="618" y="43"/>
                  </a:lnTo>
                  <a:lnTo>
                    <a:pt x="616" y="40"/>
                  </a:lnTo>
                  <a:lnTo>
                    <a:pt x="616" y="40"/>
                  </a:lnTo>
                  <a:lnTo>
                    <a:pt x="610" y="34"/>
                  </a:lnTo>
                  <a:lnTo>
                    <a:pt x="610" y="34"/>
                  </a:lnTo>
                  <a:lnTo>
                    <a:pt x="608" y="32"/>
                  </a:lnTo>
                  <a:lnTo>
                    <a:pt x="608" y="32"/>
                  </a:lnTo>
                  <a:lnTo>
                    <a:pt x="601" y="26"/>
                  </a:lnTo>
                  <a:lnTo>
                    <a:pt x="601" y="26"/>
                  </a:lnTo>
                  <a:lnTo>
                    <a:pt x="599" y="24"/>
                  </a:lnTo>
                  <a:lnTo>
                    <a:pt x="599" y="24"/>
                  </a:lnTo>
                  <a:lnTo>
                    <a:pt x="588" y="17"/>
                  </a:lnTo>
                  <a:lnTo>
                    <a:pt x="588" y="17"/>
                  </a:lnTo>
                  <a:lnTo>
                    <a:pt x="586" y="17"/>
                  </a:lnTo>
                  <a:lnTo>
                    <a:pt x="586" y="17"/>
                  </a:lnTo>
                  <a:lnTo>
                    <a:pt x="571" y="11"/>
                  </a:lnTo>
                  <a:lnTo>
                    <a:pt x="571" y="11"/>
                  </a:lnTo>
                  <a:lnTo>
                    <a:pt x="567" y="9"/>
                  </a:lnTo>
                  <a:lnTo>
                    <a:pt x="567" y="9"/>
                  </a:lnTo>
                  <a:lnTo>
                    <a:pt x="554" y="6"/>
                  </a:lnTo>
                  <a:lnTo>
                    <a:pt x="554" y="6"/>
                  </a:lnTo>
                  <a:lnTo>
                    <a:pt x="546" y="4"/>
                  </a:lnTo>
                  <a:lnTo>
                    <a:pt x="546" y="4"/>
                  </a:lnTo>
                  <a:lnTo>
                    <a:pt x="531" y="2"/>
                  </a:lnTo>
                  <a:lnTo>
                    <a:pt x="531" y="2"/>
                  </a:lnTo>
                  <a:lnTo>
                    <a:pt x="523" y="0"/>
                  </a:lnTo>
                  <a:lnTo>
                    <a:pt x="523" y="0"/>
                  </a:lnTo>
                  <a:lnTo>
                    <a:pt x="504" y="0"/>
                  </a:lnTo>
                  <a:lnTo>
                    <a:pt x="504" y="0"/>
                  </a:lnTo>
                  <a:lnTo>
                    <a:pt x="497" y="0"/>
                  </a:lnTo>
                  <a:lnTo>
                    <a:pt x="497" y="0"/>
                  </a:lnTo>
                  <a:lnTo>
                    <a:pt x="469" y="0"/>
                  </a:lnTo>
                  <a:lnTo>
                    <a:pt x="469" y="0"/>
                  </a:lnTo>
                  <a:lnTo>
                    <a:pt x="461" y="0"/>
                  </a:lnTo>
                  <a:lnTo>
                    <a:pt x="461" y="0"/>
                  </a:lnTo>
                  <a:lnTo>
                    <a:pt x="435" y="4"/>
                  </a:lnTo>
                  <a:lnTo>
                    <a:pt x="435" y="4"/>
                  </a:lnTo>
                  <a:lnTo>
                    <a:pt x="425" y="4"/>
                  </a:lnTo>
                  <a:lnTo>
                    <a:pt x="425" y="4"/>
                  </a:lnTo>
                  <a:lnTo>
                    <a:pt x="389" y="11"/>
                  </a:lnTo>
                  <a:lnTo>
                    <a:pt x="389" y="11"/>
                  </a:lnTo>
                  <a:lnTo>
                    <a:pt x="387" y="11"/>
                  </a:lnTo>
                  <a:lnTo>
                    <a:pt x="387" y="11"/>
                  </a:lnTo>
                  <a:lnTo>
                    <a:pt x="365" y="17"/>
                  </a:lnTo>
                  <a:lnTo>
                    <a:pt x="340" y="24"/>
                  </a:lnTo>
                  <a:lnTo>
                    <a:pt x="317" y="34"/>
                  </a:lnTo>
                  <a:lnTo>
                    <a:pt x="295" y="47"/>
                  </a:lnTo>
                  <a:lnTo>
                    <a:pt x="285" y="55"/>
                  </a:lnTo>
                  <a:lnTo>
                    <a:pt x="278" y="64"/>
                  </a:lnTo>
                  <a:lnTo>
                    <a:pt x="272" y="72"/>
                  </a:lnTo>
                  <a:lnTo>
                    <a:pt x="266" y="83"/>
                  </a:lnTo>
                  <a:lnTo>
                    <a:pt x="265" y="92"/>
                  </a:lnTo>
                  <a:lnTo>
                    <a:pt x="263" y="106"/>
                  </a:lnTo>
                  <a:lnTo>
                    <a:pt x="265" y="117"/>
                  </a:lnTo>
                  <a:lnTo>
                    <a:pt x="270" y="132"/>
                  </a:lnTo>
                  <a:lnTo>
                    <a:pt x="270" y="132"/>
                  </a:lnTo>
                  <a:lnTo>
                    <a:pt x="263" y="147"/>
                  </a:lnTo>
                  <a:lnTo>
                    <a:pt x="259" y="166"/>
                  </a:lnTo>
                  <a:lnTo>
                    <a:pt x="255" y="187"/>
                  </a:lnTo>
                  <a:lnTo>
                    <a:pt x="251" y="210"/>
                  </a:lnTo>
                  <a:lnTo>
                    <a:pt x="249" y="262"/>
                  </a:lnTo>
                  <a:lnTo>
                    <a:pt x="251" y="325"/>
                  </a:lnTo>
                  <a:lnTo>
                    <a:pt x="251" y="325"/>
                  </a:lnTo>
                  <a:lnTo>
                    <a:pt x="253" y="349"/>
                  </a:lnTo>
                  <a:lnTo>
                    <a:pt x="257" y="372"/>
                  </a:lnTo>
                  <a:lnTo>
                    <a:pt x="263" y="393"/>
                  </a:lnTo>
                  <a:lnTo>
                    <a:pt x="268" y="410"/>
                  </a:lnTo>
                  <a:lnTo>
                    <a:pt x="276" y="427"/>
                  </a:lnTo>
                  <a:lnTo>
                    <a:pt x="283" y="444"/>
                  </a:lnTo>
                  <a:lnTo>
                    <a:pt x="293" y="457"/>
                  </a:lnTo>
                  <a:lnTo>
                    <a:pt x="302" y="470"/>
                  </a:lnTo>
                  <a:lnTo>
                    <a:pt x="302" y="470"/>
                  </a:lnTo>
                  <a:lnTo>
                    <a:pt x="266" y="474"/>
                  </a:lnTo>
                  <a:lnTo>
                    <a:pt x="232" y="482"/>
                  </a:lnTo>
                  <a:lnTo>
                    <a:pt x="215" y="487"/>
                  </a:lnTo>
                  <a:lnTo>
                    <a:pt x="198" y="493"/>
                  </a:lnTo>
                  <a:lnTo>
                    <a:pt x="181" y="501"/>
                  </a:lnTo>
                  <a:lnTo>
                    <a:pt x="166" y="510"/>
                  </a:lnTo>
                  <a:lnTo>
                    <a:pt x="166" y="510"/>
                  </a:lnTo>
                  <a:lnTo>
                    <a:pt x="149" y="521"/>
                  </a:lnTo>
                  <a:lnTo>
                    <a:pt x="132" y="533"/>
                  </a:lnTo>
                  <a:lnTo>
                    <a:pt x="117" y="548"/>
                  </a:lnTo>
                  <a:lnTo>
                    <a:pt x="102" y="561"/>
                  </a:lnTo>
                  <a:lnTo>
                    <a:pt x="74" y="593"/>
                  </a:lnTo>
                  <a:lnTo>
                    <a:pt x="49" y="627"/>
                  </a:lnTo>
                  <a:lnTo>
                    <a:pt x="38" y="644"/>
                  </a:lnTo>
                  <a:lnTo>
                    <a:pt x="28" y="663"/>
                  </a:lnTo>
                  <a:lnTo>
                    <a:pt x="21" y="680"/>
                  </a:lnTo>
                  <a:lnTo>
                    <a:pt x="13" y="699"/>
                  </a:lnTo>
                  <a:lnTo>
                    <a:pt x="8" y="718"/>
                  </a:lnTo>
                  <a:lnTo>
                    <a:pt x="4" y="735"/>
                  </a:lnTo>
                  <a:lnTo>
                    <a:pt x="0" y="752"/>
                  </a:lnTo>
                  <a:lnTo>
                    <a:pt x="0" y="769"/>
                  </a:lnTo>
                  <a:lnTo>
                    <a:pt x="219" y="1028"/>
                  </a:lnTo>
                  <a:lnTo>
                    <a:pt x="219" y="1028"/>
                  </a:lnTo>
                  <a:lnTo>
                    <a:pt x="227" y="994"/>
                  </a:lnTo>
                  <a:lnTo>
                    <a:pt x="242" y="958"/>
                  </a:lnTo>
                  <a:lnTo>
                    <a:pt x="259" y="924"/>
                  </a:lnTo>
                  <a:lnTo>
                    <a:pt x="282" y="892"/>
                  </a:lnTo>
                  <a:lnTo>
                    <a:pt x="306" y="859"/>
                  </a:lnTo>
                  <a:lnTo>
                    <a:pt x="334" y="829"/>
                  </a:lnTo>
                  <a:lnTo>
                    <a:pt x="365" y="803"/>
                  </a:lnTo>
                  <a:lnTo>
                    <a:pt x="397" y="780"/>
                  </a:lnTo>
                  <a:lnTo>
                    <a:pt x="397" y="780"/>
                  </a:lnTo>
                  <a:lnTo>
                    <a:pt x="419" y="769"/>
                  </a:lnTo>
                  <a:lnTo>
                    <a:pt x="442" y="757"/>
                  </a:lnTo>
                  <a:lnTo>
                    <a:pt x="465" y="750"/>
                  </a:lnTo>
                  <a:lnTo>
                    <a:pt x="491" y="742"/>
                  </a:lnTo>
                  <a:lnTo>
                    <a:pt x="491" y="742"/>
                  </a:lnTo>
                  <a:lnTo>
                    <a:pt x="480" y="718"/>
                  </a:lnTo>
                  <a:lnTo>
                    <a:pt x="472" y="691"/>
                  </a:lnTo>
                  <a:lnTo>
                    <a:pt x="469" y="661"/>
                  </a:lnTo>
                  <a:lnTo>
                    <a:pt x="465" y="631"/>
                  </a:lnTo>
                  <a:lnTo>
                    <a:pt x="465" y="631"/>
                  </a:lnTo>
                  <a:lnTo>
                    <a:pt x="463" y="567"/>
                  </a:lnTo>
                  <a:lnTo>
                    <a:pt x="465" y="512"/>
                  </a:lnTo>
                  <a:lnTo>
                    <a:pt x="467" y="489"/>
                  </a:lnTo>
                  <a:lnTo>
                    <a:pt x="470" y="468"/>
                  </a:lnTo>
                  <a:lnTo>
                    <a:pt x="474" y="449"/>
                  </a:lnTo>
                  <a:lnTo>
                    <a:pt x="480" y="432"/>
                  </a:lnTo>
                  <a:lnTo>
                    <a:pt x="480" y="432"/>
                  </a:lnTo>
                  <a:lnTo>
                    <a:pt x="478" y="421"/>
                  </a:lnTo>
                  <a:lnTo>
                    <a:pt x="476" y="410"/>
                  </a:lnTo>
                  <a:lnTo>
                    <a:pt x="478" y="391"/>
                  </a:lnTo>
                  <a:lnTo>
                    <a:pt x="482" y="374"/>
                  </a:lnTo>
                  <a:lnTo>
                    <a:pt x="487" y="361"/>
                  </a:lnTo>
                  <a:lnTo>
                    <a:pt x="487" y="361"/>
                  </a:lnTo>
                  <a:lnTo>
                    <a:pt x="493" y="351"/>
                  </a:lnTo>
                  <a:lnTo>
                    <a:pt x="501" y="342"/>
                  </a:lnTo>
                  <a:lnTo>
                    <a:pt x="516" y="327"/>
                  </a:lnTo>
                  <a:lnTo>
                    <a:pt x="535" y="313"/>
                  </a:lnTo>
                  <a:lnTo>
                    <a:pt x="555" y="302"/>
                  </a:lnTo>
                  <a:lnTo>
                    <a:pt x="576" y="293"/>
                  </a:lnTo>
                  <a:lnTo>
                    <a:pt x="595" y="285"/>
                  </a:lnTo>
                  <a:lnTo>
                    <a:pt x="631" y="278"/>
                  </a:lnTo>
                  <a:lnTo>
                    <a:pt x="631" y="2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47" name="Freeform 109">
              <a:extLst>
                <a:ext uri="{FF2B5EF4-FFF2-40B4-BE49-F238E27FC236}">
                  <a16:creationId xmlns:a16="http://schemas.microsoft.com/office/drawing/2014/main" id="{02564CB3-A683-4D98-88D6-442C6739875E}"/>
                </a:ext>
              </a:extLst>
            </p:cNvPr>
            <p:cNvSpPr>
              <a:spLocks/>
            </p:cNvSpPr>
            <p:nvPr/>
          </p:nvSpPr>
          <p:spPr bwMode="auto">
            <a:xfrm>
              <a:off x="17157704" y="3789368"/>
              <a:ext cx="1355721" cy="1901823"/>
            </a:xfrm>
            <a:custGeom>
              <a:avLst/>
              <a:gdLst>
                <a:gd name="T0" fmla="*/ 552 w 854"/>
                <a:gd name="T1" fmla="*/ 523 h 1198"/>
                <a:gd name="T2" fmla="*/ 595 w 854"/>
                <a:gd name="T3" fmla="*/ 497 h 1198"/>
                <a:gd name="T4" fmla="*/ 641 w 854"/>
                <a:gd name="T5" fmla="*/ 437 h 1198"/>
                <a:gd name="T6" fmla="*/ 667 w 854"/>
                <a:gd name="T7" fmla="*/ 352 h 1198"/>
                <a:gd name="T8" fmla="*/ 678 w 854"/>
                <a:gd name="T9" fmla="*/ 248 h 1198"/>
                <a:gd name="T10" fmla="*/ 675 w 854"/>
                <a:gd name="T11" fmla="*/ 138 h 1198"/>
                <a:gd name="T12" fmla="*/ 671 w 854"/>
                <a:gd name="T13" fmla="*/ 117 h 1198"/>
                <a:gd name="T14" fmla="*/ 663 w 854"/>
                <a:gd name="T15" fmla="*/ 102 h 1198"/>
                <a:gd name="T16" fmla="*/ 661 w 854"/>
                <a:gd name="T17" fmla="*/ 96 h 1198"/>
                <a:gd name="T18" fmla="*/ 654 w 854"/>
                <a:gd name="T19" fmla="*/ 87 h 1198"/>
                <a:gd name="T20" fmla="*/ 650 w 854"/>
                <a:gd name="T21" fmla="*/ 83 h 1198"/>
                <a:gd name="T22" fmla="*/ 642 w 854"/>
                <a:gd name="T23" fmla="*/ 79 h 1198"/>
                <a:gd name="T24" fmla="*/ 641 w 854"/>
                <a:gd name="T25" fmla="*/ 78 h 1198"/>
                <a:gd name="T26" fmla="*/ 635 w 854"/>
                <a:gd name="T27" fmla="*/ 76 h 1198"/>
                <a:gd name="T28" fmla="*/ 633 w 854"/>
                <a:gd name="T29" fmla="*/ 76 h 1198"/>
                <a:gd name="T30" fmla="*/ 633 w 854"/>
                <a:gd name="T31" fmla="*/ 76 h 1198"/>
                <a:gd name="T32" fmla="*/ 633 w 854"/>
                <a:gd name="T33" fmla="*/ 74 h 1198"/>
                <a:gd name="T34" fmla="*/ 631 w 854"/>
                <a:gd name="T35" fmla="*/ 72 h 1198"/>
                <a:gd name="T36" fmla="*/ 631 w 854"/>
                <a:gd name="T37" fmla="*/ 70 h 1198"/>
                <a:gd name="T38" fmla="*/ 629 w 854"/>
                <a:gd name="T39" fmla="*/ 64 h 1198"/>
                <a:gd name="T40" fmla="*/ 627 w 854"/>
                <a:gd name="T41" fmla="*/ 61 h 1198"/>
                <a:gd name="T42" fmla="*/ 624 w 854"/>
                <a:gd name="T43" fmla="*/ 51 h 1198"/>
                <a:gd name="T44" fmla="*/ 624 w 854"/>
                <a:gd name="T45" fmla="*/ 49 h 1198"/>
                <a:gd name="T46" fmla="*/ 616 w 854"/>
                <a:gd name="T47" fmla="*/ 42 h 1198"/>
                <a:gd name="T48" fmla="*/ 612 w 854"/>
                <a:gd name="T49" fmla="*/ 36 h 1198"/>
                <a:gd name="T50" fmla="*/ 601 w 854"/>
                <a:gd name="T51" fmla="*/ 28 h 1198"/>
                <a:gd name="T52" fmla="*/ 599 w 854"/>
                <a:gd name="T53" fmla="*/ 25 h 1198"/>
                <a:gd name="T54" fmla="*/ 586 w 854"/>
                <a:gd name="T55" fmla="*/ 17 h 1198"/>
                <a:gd name="T56" fmla="*/ 571 w 854"/>
                <a:gd name="T57" fmla="*/ 11 h 1198"/>
                <a:gd name="T58" fmla="*/ 554 w 854"/>
                <a:gd name="T59" fmla="*/ 6 h 1198"/>
                <a:gd name="T60" fmla="*/ 546 w 854"/>
                <a:gd name="T61" fmla="*/ 4 h 1198"/>
                <a:gd name="T62" fmla="*/ 523 w 854"/>
                <a:gd name="T63" fmla="*/ 2 h 1198"/>
                <a:gd name="T64" fmla="*/ 505 w 854"/>
                <a:gd name="T65" fmla="*/ 0 h 1198"/>
                <a:gd name="T66" fmla="*/ 469 w 854"/>
                <a:gd name="T67" fmla="*/ 0 h 1198"/>
                <a:gd name="T68" fmla="*/ 461 w 854"/>
                <a:gd name="T69" fmla="*/ 2 h 1198"/>
                <a:gd name="T70" fmla="*/ 435 w 854"/>
                <a:gd name="T71" fmla="*/ 4 h 1198"/>
                <a:gd name="T72" fmla="*/ 425 w 854"/>
                <a:gd name="T73" fmla="*/ 6 h 1198"/>
                <a:gd name="T74" fmla="*/ 387 w 854"/>
                <a:gd name="T75" fmla="*/ 11 h 1198"/>
                <a:gd name="T76" fmla="*/ 340 w 854"/>
                <a:gd name="T77" fmla="*/ 25 h 1198"/>
                <a:gd name="T78" fmla="*/ 287 w 854"/>
                <a:gd name="T79" fmla="*/ 57 h 1198"/>
                <a:gd name="T80" fmla="*/ 267 w 854"/>
                <a:gd name="T81" fmla="*/ 83 h 1198"/>
                <a:gd name="T82" fmla="*/ 265 w 854"/>
                <a:gd name="T83" fmla="*/ 119 h 1198"/>
                <a:gd name="T84" fmla="*/ 263 w 854"/>
                <a:gd name="T85" fmla="*/ 147 h 1198"/>
                <a:gd name="T86" fmla="*/ 252 w 854"/>
                <a:gd name="T87" fmla="*/ 210 h 1198"/>
                <a:gd name="T88" fmla="*/ 252 w 854"/>
                <a:gd name="T89" fmla="*/ 327 h 1198"/>
                <a:gd name="T90" fmla="*/ 263 w 854"/>
                <a:gd name="T91" fmla="*/ 393 h 1198"/>
                <a:gd name="T92" fmla="*/ 284 w 854"/>
                <a:gd name="T93" fmla="*/ 444 h 1198"/>
                <a:gd name="T94" fmla="*/ 303 w 854"/>
                <a:gd name="T95" fmla="*/ 471 h 1198"/>
                <a:gd name="T96" fmla="*/ 216 w 854"/>
                <a:gd name="T97" fmla="*/ 488 h 1198"/>
                <a:gd name="T98" fmla="*/ 167 w 854"/>
                <a:gd name="T99" fmla="*/ 510 h 1198"/>
                <a:gd name="T100" fmla="*/ 133 w 854"/>
                <a:gd name="T101" fmla="*/ 535 h 1198"/>
                <a:gd name="T102" fmla="*/ 74 w 854"/>
                <a:gd name="T103" fmla="*/ 593 h 1198"/>
                <a:gd name="T104" fmla="*/ 29 w 854"/>
                <a:gd name="T105" fmla="*/ 663 h 1198"/>
                <a:gd name="T106" fmla="*/ 8 w 854"/>
                <a:gd name="T107" fmla="*/ 718 h 1198"/>
                <a:gd name="T108" fmla="*/ 0 w 854"/>
                <a:gd name="T109" fmla="*/ 771 h 1198"/>
                <a:gd name="T110" fmla="*/ 854 w 854"/>
                <a:gd name="T111" fmla="*/ 1196 h 1198"/>
                <a:gd name="T112" fmla="*/ 850 w 854"/>
                <a:gd name="T113" fmla="*/ 1077 h 1198"/>
                <a:gd name="T114" fmla="*/ 831 w 854"/>
                <a:gd name="T115" fmla="*/ 930 h 1198"/>
                <a:gd name="T116" fmla="*/ 790 w 854"/>
                <a:gd name="T117" fmla="*/ 792 h 1198"/>
                <a:gd name="T118" fmla="*/ 754 w 854"/>
                <a:gd name="T119" fmla="*/ 712 h 1198"/>
                <a:gd name="T120" fmla="*/ 703 w 854"/>
                <a:gd name="T121" fmla="*/ 639 h 1198"/>
                <a:gd name="T122" fmla="*/ 639 w 854"/>
                <a:gd name="T123" fmla="*/ 574 h 1198"/>
                <a:gd name="T124" fmla="*/ 588 w 854"/>
                <a:gd name="T125" fmla="*/ 540 h 1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4" h="1198">
                  <a:moveTo>
                    <a:pt x="588" y="540"/>
                  </a:moveTo>
                  <a:lnTo>
                    <a:pt x="588" y="540"/>
                  </a:lnTo>
                  <a:lnTo>
                    <a:pt x="552" y="523"/>
                  </a:lnTo>
                  <a:lnTo>
                    <a:pt x="552" y="523"/>
                  </a:lnTo>
                  <a:lnTo>
                    <a:pt x="576" y="512"/>
                  </a:lnTo>
                  <a:lnTo>
                    <a:pt x="595" y="497"/>
                  </a:lnTo>
                  <a:lnTo>
                    <a:pt x="614" y="480"/>
                  </a:lnTo>
                  <a:lnTo>
                    <a:pt x="629" y="459"/>
                  </a:lnTo>
                  <a:lnTo>
                    <a:pt x="641" y="437"/>
                  </a:lnTo>
                  <a:lnTo>
                    <a:pt x="652" y="410"/>
                  </a:lnTo>
                  <a:lnTo>
                    <a:pt x="661" y="382"/>
                  </a:lnTo>
                  <a:lnTo>
                    <a:pt x="667" y="352"/>
                  </a:lnTo>
                  <a:lnTo>
                    <a:pt x="667" y="352"/>
                  </a:lnTo>
                  <a:lnTo>
                    <a:pt x="675" y="304"/>
                  </a:lnTo>
                  <a:lnTo>
                    <a:pt x="678" y="248"/>
                  </a:lnTo>
                  <a:lnTo>
                    <a:pt x="678" y="189"/>
                  </a:lnTo>
                  <a:lnTo>
                    <a:pt x="678" y="163"/>
                  </a:lnTo>
                  <a:lnTo>
                    <a:pt x="675" y="138"/>
                  </a:lnTo>
                  <a:lnTo>
                    <a:pt x="675" y="138"/>
                  </a:lnTo>
                  <a:lnTo>
                    <a:pt x="671" y="117"/>
                  </a:lnTo>
                  <a:lnTo>
                    <a:pt x="671" y="117"/>
                  </a:lnTo>
                  <a:lnTo>
                    <a:pt x="667" y="112"/>
                  </a:lnTo>
                  <a:lnTo>
                    <a:pt x="667" y="112"/>
                  </a:lnTo>
                  <a:lnTo>
                    <a:pt x="663" y="102"/>
                  </a:lnTo>
                  <a:lnTo>
                    <a:pt x="663" y="102"/>
                  </a:lnTo>
                  <a:lnTo>
                    <a:pt x="661" y="96"/>
                  </a:lnTo>
                  <a:lnTo>
                    <a:pt x="661" y="96"/>
                  </a:lnTo>
                  <a:lnTo>
                    <a:pt x="658" y="91"/>
                  </a:lnTo>
                  <a:lnTo>
                    <a:pt x="658" y="91"/>
                  </a:lnTo>
                  <a:lnTo>
                    <a:pt x="654" y="87"/>
                  </a:lnTo>
                  <a:lnTo>
                    <a:pt x="654" y="87"/>
                  </a:lnTo>
                  <a:lnTo>
                    <a:pt x="650" y="83"/>
                  </a:lnTo>
                  <a:lnTo>
                    <a:pt x="650" y="83"/>
                  </a:lnTo>
                  <a:lnTo>
                    <a:pt x="646" y="81"/>
                  </a:lnTo>
                  <a:lnTo>
                    <a:pt x="646" y="81"/>
                  </a:lnTo>
                  <a:lnTo>
                    <a:pt x="642" y="79"/>
                  </a:lnTo>
                  <a:lnTo>
                    <a:pt x="642" y="79"/>
                  </a:lnTo>
                  <a:lnTo>
                    <a:pt x="641" y="78"/>
                  </a:lnTo>
                  <a:lnTo>
                    <a:pt x="641" y="78"/>
                  </a:lnTo>
                  <a:lnTo>
                    <a:pt x="639" y="76"/>
                  </a:lnTo>
                  <a:lnTo>
                    <a:pt x="639" y="76"/>
                  </a:lnTo>
                  <a:lnTo>
                    <a:pt x="635" y="76"/>
                  </a:lnTo>
                  <a:lnTo>
                    <a:pt x="635" y="76"/>
                  </a:lnTo>
                  <a:lnTo>
                    <a:pt x="633" y="76"/>
                  </a:lnTo>
                  <a:lnTo>
                    <a:pt x="633" y="76"/>
                  </a:lnTo>
                  <a:lnTo>
                    <a:pt x="633" y="76"/>
                  </a:lnTo>
                  <a:lnTo>
                    <a:pt x="633" y="76"/>
                  </a:lnTo>
                  <a:lnTo>
                    <a:pt x="633" y="76"/>
                  </a:lnTo>
                  <a:lnTo>
                    <a:pt x="633" y="76"/>
                  </a:lnTo>
                  <a:lnTo>
                    <a:pt x="633" y="74"/>
                  </a:lnTo>
                  <a:lnTo>
                    <a:pt x="633" y="74"/>
                  </a:lnTo>
                  <a:lnTo>
                    <a:pt x="631" y="74"/>
                  </a:lnTo>
                  <a:lnTo>
                    <a:pt x="631" y="74"/>
                  </a:lnTo>
                  <a:lnTo>
                    <a:pt x="631" y="72"/>
                  </a:lnTo>
                  <a:lnTo>
                    <a:pt x="631" y="72"/>
                  </a:lnTo>
                  <a:lnTo>
                    <a:pt x="631" y="70"/>
                  </a:lnTo>
                  <a:lnTo>
                    <a:pt x="631" y="70"/>
                  </a:lnTo>
                  <a:lnTo>
                    <a:pt x="631" y="66"/>
                  </a:lnTo>
                  <a:lnTo>
                    <a:pt x="631" y="66"/>
                  </a:lnTo>
                  <a:lnTo>
                    <a:pt x="629" y="64"/>
                  </a:lnTo>
                  <a:lnTo>
                    <a:pt x="629" y="64"/>
                  </a:lnTo>
                  <a:lnTo>
                    <a:pt x="627" y="61"/>
                  </a:lnTo>
                  <a:lnTo>
                    <a:pt x="627" y="61"/>
                  </a:lnTo>
                  <a:lnTo>
                    <a:pt x="627" y="59"/>
                  </a:lnTo>
                  <a:lnTo>
                    <a:pt x="627" y="59"/>
                  </a:lnTo>
                  <a:lnTo>
                    <a:pt x="624" y="51"/>
                  </a:lnTo>
                  <a:lnTo>
                    <a:pt x="624" y="51"/>
                  </a:lnTo>
                  <a:lnTo>
                    <a:pt x="624" y="49"/>
                  </a:lnTo>
                  <a:lnTo>
                    <a:pt x="624" y="49"/>
                  </a:lnTo>
                  <a:lnTo>
                    <a:pt x="618" y="44"/>
                  </a:lnTo>
                  <a:lnTo>
                    <a:pt x="618" y="44"/>
                  </a:lnTo>
                  <a:lnTo>
                    <a:pt x="616" y="42"/>
                  </a:lnTo>
                  <a:lnTo>
                    <a:pt x="616" y="42"/>
                  </a:lnTo>
                  <a:lnTo>
                    <a:pt x="612" y="36"/>
                  </a:lnTo>
                  <a:lnTo>
                    <a:pt x="612" y="36"/>
                  </a:lnTo>
                  <a:lnTo>
                    <a:pt x="608" y="32"/>
                  </a:lnTo>
                  <a:lnTo>
                    <a:pt x="608" y="32"/>
                  </a:lnTo>
                  <a:lnTo>
                    <a:pt x="601" y="28"/>
                  </a:lnTo>
                  <a:lnTo>
                    <a:pt x="601" y="28"/>
                  </a:lnTo>
                  <a:lnTo>
                    <a:pt x="599" y="25"/>
                  </a:lnTo>
                  <a:lnTo>
                    <a:pt x="599" y="25"/>
                  </a:lnTo>
                  <a:lnTo>
                    <a:pt x="588" y="19"/>
                  </a:lnTo>
                  <a:lnTo>
                    <a:pt x="588" y="19"/>
                  </a:lnTo>
                  <a:lnTo>
                    <a:pt x="586" y="17"/>
                  </a:lnTo>
                  <a:lnTo>
                    <a:pt x="586" y="17"/>
                  </a:lnTo>
                  <a:lnTo>
                    <a:pt x="571" y="11"/>
                  </a:lnTo>
                  <a:lnTo>
                    <a:pt x="571" y="11"/>
                  </a:lnTo>
                  <a:lnTo>
                    <a:pt x="567" y="10"/>
                  </a:lnTo>
                  <a:lnTo>
                    <a:pt x="567" y="10"/>
                  </a:lnTo>
                  <a:lnTo>
                    <a:pt x="554" y="6"/>
                  </a:lnTo>
                  <a:lnTo>
                    <a:pt x="554" y="6"/>
                  </a:lnTo>
                  <a:lnTo>
                    <a:pt x="546" y="4"/>
                  </a:lnTo>
                  <a:lnTo>
                    <a:pt x="546" y="4"/>
                  </a:lnTo>
                  <a:lnTo>
                    <a:pt x="531" y="2"/>
                  </a:lnTo>
                  <a:lnTo>
                    <a:pt x="531" y="2"/>
                  </a:lnTo>
                  <a:lnTo>
                    <a:pt x="523" y="2"/>
                  </a:lnTo>
                  <a:lnTo>
                    <a:pt x="523" y="2"/>
                  </a:lnTo>
                  <a:lnTo>
                    <a:pt x="505" y="0"/>
                  </a:lnTo>
                  <a:lnTo>
                    <a:pt x="505" y="0"/>
                  </a:lnTo>
                  <a:lnTo>
                    <a:pt x="497" y="0"/>
                  </a:lnTo>
                  <a:lnTo>
                    <a:pt x="497" y="0"/>
                  </a:lnTo>
                  <a:lnTo>
                    <a:pt x="469" y="0"/>
                  </a:lnTo>
                  <a:lnTo>
                    <a:pt x="469" y="0"/>
                  </a:lnTo>
                  <a:lnTo>
                    <a:pt x="461" y="2"/>
                  </a:lnTo>
                  <a:lnTo>
                    <a:pt x="461" y="2"/>
                  </a:lnTo>
                  <a:lnTo>
                    <a:pt x="461" y="2"/>
                  </a:lnTo>
                  <a:lnTo>
                    <a:pt x="461" y="2"/>
                  </a:lnTo>
                  <a:lnTo>
                    <a:pt x="435" y="4"/>
                  </a:lnTo>
                  <a:lnTo>
                    <a:pt x="435" y="4"/>
                  </a:lnTo>
                  <a:lnTo>
                    <a:pt x="425" y="6"/>
                  </a:lnTo>
                  <a:lnTo>
                    <a:pt x="425" y="6"/>
                  </a:lnTo>
                  <a:lnTo>
                    <a:pt x="423" y="6"/>
                  </a:lnTo>
                  <a:lnTo>
                    <a:pt x="423" y="6"/>
                  </a:lnTo>
                  <a:lnTo>
                    <a:pt x="387" y="11"/>
                  </a:lnTo>
                  <a:lnTo>
                    <a:pt x="387" y="11"/>
                  </a:lnTo>
                  <a:lnTo>
                    <a:pt x="365" y="17"/>
                  </a:lnTo>
                  <a:lnTo>
                    <a:pt x="340" y="25"/>
                  </a:lnTo>
                  <a:lnTo>
                    <a:pt x="318" y="36"/>
                  </a:lnTo>
                  <a:lnTo>
                    <a:pt x="295" y="49"/>
                  </a:lnTo>
                  <a:lnTo>
                    <a:pt x="287" y="57"/>
                  </a:lnTo>
                  <a:lnTo>
                    <a:pt x="278" y="64"/>
                  </a:lnTo>
                  <a:lnTo>
                    <a:pt x="272" y="74"/>
                  </a:lnTo>
                  <a:lnTo>
                    <a:pt x="267" y="83"/>
                  </a:lnTo>
                  <a:lnTo>
                    <a:pt x="265" y="95"/>
                  </a:lnTo>
                  <a:lnTo>
                    <a:pt x="263" y="106"/>
                  </a:lnTo>
                  <a:lnTo>
                    <a:pt x="265" y="119"/>
                  </a:lnTo>
                  <a:lnTo>
                    <a:pt x="270" y="132"/>
                  </a:lnTo>
                  <a:lnTo>
                    <a:pt x="270" y="132"/>
                  </a:lnTo>
                  <a:lnTo>
                    <a:pt x="263" y="147"/>
                  </a:lnTo>
                  <a:lnTo>
                    <a:pt x="259" y="166"/>
                  </a:lnTo>
                  <a:lnTo>
                    <a:pt x="255" y="187"/>
                  </a:lnTo>
                  <a:lnTo>
                    <a:pt x="252" y="210"/>
                  </a:lnTo>
                  <a:lnTo>
                    <a:pt x="250" y="265"/>
                  </a:lnTo>
                  <a:lnTo>
                    <a:pt x="252" y="327"/>
                  </a:lnTo>
                  <a:lnTo>
                    <a:pt x="252" y="327"/>
                  </a:lnTo>
                  <a:lnTo>
                    <a:pt x="253" y="352"/>
                  </a:lnTo>
                  <a:lnTo>
                    <a:pt x="257" y="372"/>
                  </a:lnTo>
                  <a:lnTo>
                    <a:pt x="263" y="393"/>
                  </a:lnTo>
                  <a:lnTo>
                    <a:pt x="269" y="412"/>
                  </a:lnTo>
                  <a:lnTo>
                    <a:pt x="276" y="429"/>
                  </a:lnTo>
                  <a:lnTo>
                    <a:pt x="284" y="444"/>
                  </a:lnTo>
                  <a:lnTo>
                    <a:pt x="293" y="457"/>
                  </a:lnTo>
                  <a:lnTo>
                    <a:pt x="303" y="471"/>
                  </a:lnTo>
                  <a:lnTo>
                    <a:pt x="303" y="471"/>
                  </a:lnTo>
                  <a:lnTo>
                    <a:pt x="267" y="474"/>
                  </a:lnTo>
                  <a:lnTo>
                    <a:pt x="233" y="482"/>
                  </a:lnTo>
                  <a:lnTo>
                    <a:pt x="216" y="488"/>
                  </a:lnTo>
                  <a:lnTo>
                    <a:pt x="199" y="495"/>
                  </a:lnTo>
                  <a:lnTo>
                    <a:pt x="182" y="503"/>
                  </a:lnTo>
                  <a:lnTo>
                    <a:pt x="167" y="510"/>
                  </a:lnTo>
                  <a:lnTo>
                    <a:pt x="167" y="510"/>
                  </a:lnTo>
                  <a:lnTo>
                    <a:pt x="150" y="522"/>
                  </a:lnTo>
                  <a:lnTo>
                    <a:pt x="133" y="535"/>
                  </a:lnTo>
                  <a:lnTo>
                    <a:pt x="117" y="548"/>
                  </a:lnTo>
                  <a:lnTo>
                    <a:pt x="102" y="563"/>
                  </a:lnTo>
                  <a:lnTo>
                    <a:pt x="74" y="593"/>
                  </a:lnTo>
                  <a:lnTo>
                    <a:pt x="49" y="627"/>
                  </a:lnTo>
                  <a:lnTo>
                    <a:pt x="38" y="646"/>
                  </a:lnTo>
                  <a:lnTo>
                    <a:pt x="29" y="663"/>
                  </a:lnTo>
                  <a:lnTo>
                    <a:pt x="21" y="682"/>
                  </a:lnTo>
                  <a:lnTo>
                    <a:pt x="14" y="699"/>
                  </a:lnTo>
                  <a:lnTo>
                    <a:pt x="8" y="718"/>
                  </a:lnTo>
                  <a:lnTo>
                    <a:pt x="4" y="735"/>
                  </a:lnTo>
                  <a:lnTo>
                    <a:pt x="2" y="754"/>
                  </a:lnTo>
                  <a:lnTo>
                    <a:pt x="0" y="771"/>
                  </a:lnTo>
                  <a:lnTo>
                    <a:pt x="361" y="1198"/>
                  </a:lnTo>
                  <a:lnTo>
                    <a:pt x="854" y="1196"/>
                  </a:lnTo>
                  <a:lnTo>
                    <a:pt x="854" y="1196"/>
                  </a:lnTo>
                  <a:lnTo>
                    <a:pt x="854" y="1175"/>
                  </a:lnTo>
                  <a:lnTo>
                    <a:pt x="854" y="1117"/>
                  </a:lnTo>
                  <a:lnTo>
                    <a:pt x="850" y="1077"/>
                  </a:lnTo>
                  <a:lnTo>
                    <a:pt x="846" y="1032"/>
                  </a:lnTo>
                  <a:lnTo>
                    <a:pt x="841" y="982"/>
                  </a:lnTo>
                  <a:lnTo>
                    <a:pt x="831" y="930"/>
                  </a:lnTo>
                  <a:lnTo>
                    <a:pt x="818" y="875"/>
                  </a:lnTo>
                  <a:lnTo>
                    <a:pt x="801" y="820"/>
                  </a:lnTo>
                  <a:lnTo>
                    <a:pt x="790" y="792"/>
                  </a:lnTo>
                  <a:lnTo>
                    <a:pt x="778" y="765"/>
                  </a:lnTo>
                  <a:lnTo>
                    <a:pt x="767" y="739"/>
                  </a:lnTo>
                  <a:lnTo>
                    <a:pt x="754" y="712"/>
                  </a:lnTo>
                  <a:lnTo>
                    <a:pt x="737" y="686"/>
                  </a:lnTo>
                  <a:lnTo>
                    <a:pt x="722" y="661"/>
                  </a:lnTo>
                  <a:lnTo>
                    <a:pt x="703" y="639"/>
                  </a:lnTo>
                  <a:lnTo>
                    <a:pt x="684" y="616"/>
                  </a:lnTo>
                  <a:lnTo>
                    <a:pt x="661" y="595"/>
                  </a:lnTo>
                  <a:lnTo>
                    <a:pt x="639" y="574"/>
                  </a:lnTo>
                  <a:lnTo>
                    <a:pt x="614" y="557"/>
                  </a:lnTo>
                  <a:lnTo>
                    <a:pt x="588" y="540"/>
                  </a:lnTo>
                  <a:lnTo>
                    <a:pt x="588" y="5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48" name="Freeform 110">
              <a:extLst>
                <a:ext uri="{FF2B5EF4-FFF2-40B4-BE49-F238E27FC236}">
                  <a16:creationId xmlns:a16="http://schemas.microsoft.com/office/drawing/2014/main" id="{9132A3E7-53A2-FC3C-206C-AC1C2894BC0A}"/>
                </a:ext>
              </a:extLst>
            </p:cNvPr>
            <p:cNvSpPr>
              <a:spLocks/>
            </p:cNvSpPr>
            <p:nvPr/>
          </p:nvSpPr>
          <p:spPr bwMode="auto">
            <a:xfrm>
              <a:off x="12007854" y="3789368"/>
              <a:ext cx="5500681" cy="1901823"/>
            </a:xfrm>
            <a:custGeom>
              <a:avLst/>
              <a:gdLst>
                <a:gd name="T0" fmla="*/ 1732 w 3465"/>
                <a:gd name="T1" fmla="*/ 0 h 1198"/>
                <a:gd name="T2" fmla="*/ 987 w 3465"/>
                <a:gd name="T3" fmla="*/ 0 h 1198"/>
                <a:gd name="T4" fmla="*/ 0 w 3465"/>
                <a:gd name="T5" fmla="*/ 1198 h 1198"/>
                <a:gd name="T6" fmla="*/ 1732 w 3465"/>
                <a:gd name="T7" fmla="*/ 1198 h 1198"/>
                <a:gd name="T8" fmla="*/ 3465 w 3465"/>
                <a:gd name="T9" fmla="*/ 1198 h 1198"/>
                <a:gd name="T10" fmla="*/ 2478 w 3465"/>
                <a:gd name="T11" fmla="*/ 0 h 1198"/>
                <a:gd name="T12" fmla="*/ 1732 w 3465"/>
                <a:gd name="T13" fmla="*/ 0 h 1198"/>
              </a:gdLst>
              <a:ahLst/>
              <a:cxnLst>
                <a:cxn ang="0">
                  <a:pos x="T0" y="T1"/>
                </a:cxn>
                <a:cxn ang="0">
                  <a:pos x="T2" y="T3"/>
                </a:cxn>
                <a:cxn ang="0">
                  <a:pos x="T4" y="T5"/>
                </a:cxn>
                <a:cxn ang="0">
                  <a:pos x="T6" y="T7"/>
                </a:cxn>
                <a:cxn ang="0">
                  <a:pos x="T8" y="T9"/>
                </a:cxn>
                <a:cxn ang="0">
                  <a:pos x="T10" y="T11"/>
                </a:cxn>
                <a:cxn ang="0">
                  <a:pos x="T12" y="T13"/>
                </a:cxn>
              </a:cxnLst>
              <a:rect l="0" t="0" r="r" b="b"/>
              <a:pathLst>
                <a:path w="3465" h="1198">
                  <a:moveTo>
                    <a:pt x="1732" y="0"/>
                  </a:moveTo>
                  <a:lnTo>
                    <a:pt x="987" y="0"/>
                  </a:lnTo>
                  <a:lnTo>
                    <a:pt x="0" y="1198"/>
                  </a:lnTo>
                  <a:lnTo>
                    <a:pt x="1732" y="1198"/>
                  </a:lnTo>
                  <a:lnTo>
                    <a:pt x="3465" y="1198"/>
                  </a:lnTo>
                  <a:lnTo>
                    <a:pt x="2478" y="0"/>
                  </a:lnTo>
                  <a:lnTo>
                    <a:pt x="17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49" name="Freeform 111">
              <a:extLst>
                <a:ext uri="{FF2B5EF4-FFF2-40B4-BE49-F238E27FC236}">
                  <a16:creationId xmlns:a16="http://schemas.microsoft.com/office/drawing/2014/main" id="{C291F2ED-85CD-4F4F-2C39-A474B8EC15E0}"/>
                </a:ext>
              </a:extLst>
            </p:cNvPr>
            <p:cNvSpPr>
              <a:spLocks noEditPoints="1"/>
            </p:cNvSpPr>
            <p:nvPr/>
          </p:nvSpPr>
          <p:spPr bwMode="auto">
            <a:xfrm>
              <a:off x="13122277" y="661988"/>
              <a:ext cx="3271835" cy="2647948"/>
            </a:xfrm>
            <a:custGeom>
              <a:avLst/>
              <a:gdLst>
                <a:gd name="T0" fmla="*/ 2036 w 2061"/>
                <a:gd name="T1" fmla="*/ 1668 h 1668"/>
                <a:gd name="T2" fmla="*/ 2059 w 2061"/>
                <a:gd name="T3" fmla="*/ 1653 h 1668"/>
                <a:gd name="T4" fmla="*/ 2061 w 2061"/>
                <a:gd name="T5" fmla="*/ 442 h 1668"/>
                <a:gd name="T6" fmla="*/ 2046 w 2061"/>
                <a:gd name="T7" fmla="*/ 421 h 1668"/>
                <a:gd name="T8" fmla="*/ 1062 w 2061"/>
                <a:gd name="T9" fmla="*/ 363 h 1668"/>
                <a:gd name="T10" fmla="*/ 1090 w 2061"/>
                <a:gd name="T11" fmla="*/ 353 h 1668"/>
                <a:gd name="T12" fmla="*/ 1128 w 2061"/>
                <a:gd name="T13" fmla="*/ 329 h 1668"/>
                <a:gd name="T14" fmla="*/ 1158 w 2061"/>
                <a:gd name="T15" fmla="*/ 298 h 1668"/>
                <a:gd name="T16" fmla="*/ 1181 w 2061"/>
                <a:gd name="T17" fmla="*/ 261 h 1668"/>
                <a:gd name="T18" fmla="*/ 1192 w 2061"/>
                <a:gd name="T19" fmla="*/ 217 h 1668"/>
                <a:gd name="T20" fmla="*/ 1196 w 2061"/>
                <a:gd name="T21" fmla="*/ 187 h 1668"/>
                <a:gd name="T22" fmla="*/ 1186 w 2061"/>
                <a:gd name="T23" fmla="*/ 130 h 1668"/>
                <a:gd name="T24" fmla="*/ 1164 w 2061"/>
                <a:gd name="T25" fmla="*/ 83 h 1668"/>
                <a:gd name="T26" fmla="*/ 1128 w 2061"/>
                <a:gd name="T27" fmla="*/ 43 h 1668"/>
                <a:gd name="T28" fmla="*/ 1082 w 2061"/>
                <a:gd name="T29" fmla="*/ 15 h 1668"/>
                <a:gd name="T30" fmla="*/ 1028 w 2061"/>
                <a:gd name="T31" fmla="*/ 2 h 1668"/>
                <a:gd name="T32" fmla="*/ 990 w 2061"/>
                <a:gd name="T33" fmla="*/ 2 h 1668"/>
                <a:gd name="T34" fmla="*/ 937 w 2061"/>
                <a:gd name="T35" fmla="*/ 15 h 1668"/>
                <a:gd name="T36" fmla="*/ 892 w 2061"/>
                <a:gd name="T37" fmla="*/ 43 h 1668"/>
                <a:gd name="T38" fmla="*/ 856 w 2061"/>
                <a:gd name="T39" fmla="*/ 83 h 1668"/>
                <a:gd name="T40" fmla="*/ 833 w 2061"/>
                <a:gd name="T41" fmla="*/ 130 h 1668"/>
                <a:gd name="T42" fmla="*/ 824 w 2061"/>
                <a:gd name="T43" fmla="*/ 187 h 1668"/>
                <a:gd name="T44" fmla="*/ 827 w 2061"/>
                <a:gd name="T45" fmla="*/ 217 h 1668"/>
                <a:gd name="T46" fmla="*/ 841 w 2061"/>
                <a:gd name="T47" fmla="*/ 261 h 1668"/>
                <a:gd name="T48" fmla="*/ 863 w 2061"/>
                <a:gd name="T49" fmla="*/ 300 h 1668"/>
                <a:gd name="T50" fmla="*/ 895 w 2061"/>
                <a:gd name="T51" fmla="*/ 332 h 1668"/>
                <a:gd name="T52" fmla="*/ 933 w 2061"/>
                <a:gd name="T53" fmla="*/ 355 h 1668"/>
                <a:gd name="T54" fmla="*/ 962 w 2061"/>
                <a:gd name="T55" fmla="*/ 419 h 1668"/>
                <a:gd name="T56" fmla="*/ 13 w 2061"/>
                <a:gd name="T57" fmla="*/ 421 h 1668"/>
                <a:gd name="T58" fmla="*/ 0 w 2061"/>
                <a:gd name="T59" fmla="*/ 442 h 1668"/>
                <a:gd name="T60" fmla="*/ 2 w 2061"/>
                <a:gd name="T61" fmla="*/ 1653 h 1668"/>
                <a:gd name="T62" fmla="*/ 23 w 2061"/>
                <a:gd name="T63" fmla="*/ 1668 h 1668"/>
                <a:gd name="T64" fmla="*/ 922 w 2061"/>
                <a:gd name="T65" fmla="*/ 187 h 1668"/>
                <a:gd name="T66" fmla="*/ 937 w 2061"/>
                <a:gd name="T67" fmla="*/ 138 h 1668"/>
                <a:gd name="T68" fmla="*/ 975 w 2061"/>
                <a:gd name="T69" fmla="*/ 106 h 1668"/>
                <a:gd name="T70" fmla="*/ 1009 w 2061"/>
                <a:gd name="T71" fmla="*/ 98 h 1668"/>
                <a:gd name="T72" fmla="*/ 1058 w 2061"/>
                <a:gd name="T73" fmla="*/ 113 h 1668"/>
                <a:gd name="T74" fmla="*/ 1090 w 2061"/>
                <a:gd name="T75" fmla="*/ 151 h 1668"/>
                <a:gd name="T76" fmla="*/ 1097 w 2061"/>
                <a:gd name="T77" fmla="*/ 187 h 1668"/>
                <a:gd name="T78" fmla="*/ 1082 w 2061"/>
                <a:gd name="T79" fmla="*/ 236 h 1668"/>
                <a:gd name="T80" fmla="*/ 1045 w 2061"/>
                <a:gd name="T81" fmla="*/ 266 h 1668"/>
                <a:gd name="T82" fmla="*/ 1009 w 2061"/>
                <a:gd name="T83" fmla="*/ 274 h 1668"/>
                <a:gd name="T84" fmla="*/ 960 w 2061"/>
                <a:gd name="T85" fmla="*/ 259 h 1668"/>
                <a:gd name="T86" fmla="*/ 929 w 2061"/>
                <a:gd name="T87" fmla="*/ 221 h 1668"/>
                <a:gd name="T88" fmla="*/ 922 w 2061"/>
                <a:gd name="T89" fmla="*/ 187 h 1668"/>
                <a:gd name="T90" fmla="*/ 1895 w 2061"/>
                <a:gd name="T91" fmla="*/ 1530 h 1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61" h="1668">
                  <a:moveTo>
                    <a:pt x="23" y="1668"/>
                  </a:moveTo>
                  <a:lnTo>
                    <a:pt x="2036" y="1668"/>
                  </a:lnTo>
                  <a:lnTo>
                    <a:pt x="2036" y="1668"/>
                  </a:lnTo>
                  <a:lnTo>
                    <a:pt x="2046" y="1666"/>
                  </a:lnTo>
                  <a:lnTo>
                    <a:pt x="2053" y="1660"/>
                  </a:lnTo>
                  <a:lnTo>
                    <a:pt x="2059" y="1653"/>
                  </a:lnTo>
                  <a:lnTo>
                    <a:pt x="2061" y="1643"/>
                  </a:lnTo>
                  <a:lnTo>
                    <a:pt x="2061" y="442"/>
                  </a:lnTo>
                  <a:lnTo>
                    <a:pt x="2061" y="442"/>
                  </a:lnTo>
                  <a:lnTo>
                    <a:pt x="2059" y="433"/>
                  </a:lnTo>
                  <a:lnTo>
                    <a:pt x="2053" y="425"/>
                  </a:lnTo>
                  <a:lnTo>
                    <a:pt x="2046" y="421"/>
                  </a:lnTo>
                  <a:lnTo>
                    <a:pt x="2036" y="419"/>
                  </a:lnTo>
                  <a:lnTo>
                    <a:pt x="1062" y="419"/>
                  </a:lnTo>
                  <a:lnTo>
                    <a:pt x="1062" y="363"/>
                  </a:lnTo>
                  <a:lnTo>
                    <a:pt x="1062" y="363"/>
                  </a:lnTo>
                  <a:lnTo>
                    <a:pt x="1077" y="359"/>
                  </a:lnTo>
                  <a:lnTo>
                    <a:pt x="1090" y="353"/>
                  </a:lnTo>
                  <a:lnTo>
                    <a:pt x="1103" y="346"/>
                  </a:lnTo>
                  <a:lnTo>
                    <a:pt x="1114" y="338"/>
                  </a:lnTo>
                  <a:lnTo>
                    <a:pt x="1128" y="329"/>
                  </a:lnTo>
                  <a:lnTo>
                    <a:pt x="1137" y="319"/>
                  </a:lnTo>
                  <a:lnTo>
                    <a:pt x="1148" y="310"/>
                  </a:lnTo>
                  <a:lnTo>
                    <a:pt x="1158" y="298"/>
                  </a:lnTo>
                  <a:lnTo>
                    <a:pt x="1165" y="285"/>
                  </a:lnTo>
                  <a:lnTo>
                    <a:pt x="1173" y="274"/>
                  </a:lnTo>
                  <a:lnTo>
                    <a:pt x="1181" y="261"/>
                  </a:lnTo>
                  <a:lnTo>
                    <a:pt x="1184" y="246"/>
                  </a:lnTo>
                  <a:lnTo>
                    <a:pt x="1190" y="232"/>
                  </a:lnTo>
                  <a:lnTo>
                    <a:pt x="1192" y="217"/>
                  </a:lnTo>
                  <a:lnTo>
                    <a:pt x="1194" y="202"/>
                  </a:lnTo>
                  <a:lnTo>
                    <a:pt x="1196" y="187"/>
                  </a:lnTo>
                  <a:lnTo>
                    <a:pt x="1196" y="187"/>
                  </a:lnTo>
                  <a:lnTo>
                    <a:pt x="1194" y="168"/>
                  </a:lnTo>
                  <a:lnTo>
                    <a:pt x="1192" y="149"/>
                  </a:lnTo>
                  <a:lnTo>
                    <a:pt x="1186" y="130"/>
                  </a:lnTo>
                  <a:lnTo>
                    <a:pt x="1181" y="113"/>
                  </a:lnTo>
                  <a:lnTo>
                    <a:pt x="1173" y="98"/>
                  </a:lnTo>
                  <a:lnTo>
                    <a:pt x="1164" y="83"/>
                  </a:lnTo>
                  <a:lnTo>
                    <a:pt x="1152" y="68"/>
                  </a:lnTo>
                  <a:lnTo>
                    <a:pt x="1141" y="55"/>
                  </a:lnTo>
                  <a:lnTo>
                    <a:pt x="1128" y="43"/>
                  </a:lnTo>
                  <a:lnTo>
                    <a:pt x="1113" y="32"/>
                  </a:lnTo>
                  <a:lnTo>
                    <a:pt x="1097" y="23"/>
                  </a:lnTo>
                  <a:lnTo>
                    <a:pt x="1082" y="15"/>
                  </a:lnTo>
                  <a:lnTo>
                    <a:pt x="1065" y="9"/>
                  </a:lnTo>
                  <a:lnTo>
                    <a:pt x="1046" y="4"/>
                  </a:lnTo>
                  <a:lnTo>
                    <a:pt x="1028" y="2"/>
                  </a:lnTo>
                  <a:lnTo>
                    <a:pt x="1009" y="0"/>
                  </a:lnTo>
                  <a:lnTo>
                    <a:pt x="1009" y="0"/>
                  </a:lnTo>
                  <a:lnTo>
                    <a:pt x="990" y="2"/>
                  </a:lnTo>
                  <a:lnTo>
                    <a:pt x="973" y="4"/>
                  </a:lnTo>
                  <a:lnTo>
                    <a:pt x="954" y="9"/>
                  </a:lnTo>
                  <a:lnTo>
                    <a:pt x="937" y="15"/>
                  </a:lnTo>
                  <a:lnTo>
                    <a:pt x="922" y="23"/>
                  </a:lnTo>
                  <a:lnTo>
                    <a:pt x="907" y="32"/>
                  </a:lnTo>
                  <a:lnTo>
                    <a:pt x="892" y="43"/>
                  </a:lnTo>
                  <a:lnTo>
                    <a:pt x="878" y="55"/>
                  </a:lnTo>
                  <a:lnTo>
                    <a:pt x="867" y="68"/>
                  </a:lnTo>
                  <a:lnTo>
                    <a:pt x="856" y="83"/>
                  </a:lnTo>
                  <a:lnTo>
                    <a:pt x="846" y="98"/>
                  </a:lnTo>
                  <a:lnTo>
                    <a:pt x="839" y="113"/>
                  </a:lnTo>
                  <a:lnTo>
                    <a:pt x="833" y="130"/>
                  </a:lnTo>
                  <a:lnTo>
                    <a:pt x="827" y="149"/>
                  </a:lnTo>
                  <a:lnTo>
                    <a:pt x="826" y="168"/>
                  </a:lnTo>
                  <a:lnTo>
                    <a:pt x="824" y="187"/>
                  </a:lnTo>
                  <a:lnTo>
                    <a:pt x="824" y="187"/>
                  </a:lnTo>
                  <a:lnTo>
                    <a:pt x="826" y="202"/>
                  </a:lnTo>
                  <a:lnTo>
                    <a:pt x="827" y="217"/>
                  </a:lnTo>
                  <a:lnTo>
                    <a:pt x="829" y="232"/>
                  </a:lnTo>
                  <a:lnTo>
                    <a:pt x="835" y="247"/>
                  </a:lnTo>
                  <a:lnTo>
                    <a:pt x="841" y="261"/>
                  </a:lnTo>
                  <a:lnTo>
                    <a:pt x="846" y="276"/>
                  </a:lnTo>
                  <a:lnTo>
                    <a:pt x="854" y="287"/>
                  </a:lnTo>
                  <a:lnTo>
                    <a:pt x="863" y="300"/>
                  </a:lnTo>
                  <a:lnTo>
                    <a:pt x="873" y="312"/>
                  </a:lnTo>
                  <a:lnTo>
                    <a:pt x="884" y="321"/>
                  </a:lnTo>
                  <a:lnTo>
                    <a:pt x="895" y="332"/>
                  </a:lnTo>
                  <a:lnTo>
                    <a:pt x="907" y="340"/>
                  </a:lnTo>
                  <a:lnTo>
                    <a:pt x="920" y="348"/>
                  </a:lnTo>
                  <a:lnTo>
                    <a:pt x="933" y="355"/>
                  </a:lnTo>
                  <a:lnTo>
                    <a:pt x="948" y="361"/>
                  </a:lnTo>
                  <a:lnTo>
                    <a:pt x="962" y="365"/>
                  </a:lnTo>
                  <a:lnTo>
                    <a:pt x="962" y="419"/>
                  </a:lnTo>
                  <a:lnTo>
                    <a:pt x="23" y="419"/>
                  </a:lnTo>
                  <a:lnTo>
                    <a:pt x="23" y="419"/>
                  </a:lnTo>
                  <a:lnTo>
                    <a:pt x="13" y="421"/>
                  </a:lnTo>
                  <a:lnTo>
                    <a:pt x="6" y="425"/>
                  </a:lnTo>
                  <a:lnTo>
                    <a:pt x="2" y="433"/>
                  </a:lnTo>
                  <a:lnTo>
                    <a:pt x="0" y="442"/>
                  </a:lnTo>
                  <a:lnTo>
                    <a:pt x="0" y="1643"/>
                  </a:lnTo>
                  <a:lnTo>
                    <a:pt x="0" y="1643"/>
                  </a:lnTo>
                  <a:lnTo>
                    <a:pt x="2" y="1653"/>
                  </a:lnTo>
                  <a:lnTo>
                    <a:pt x="6" y="1660"/>
                  </a:lnTo>
                  <a:lnTo>
                    <a:pt x="13" y="1666"/>
                  </a:lnTo>
                  <a:lnTo>
                    <a:pt x="23" y="1668"/>
                  </a:lnTo>
                  <a:lnTo>
                    <a:pt x="23" y="1668"/>
                  </a:lnTo>
                  <a:close/>
                  <a:moveTo>
                    <a:pt x="922" y="187"/>
                  </a:moveTo>
                  <a:lnTo>
                    <a:pt x="922" y="187"/>
                  </a:lnTo>
                  <a:lnTo>
                    <a:pt x="924" y="168"/>
                  </a:lnTo>
                  <a:lnTo>
                    <a:pt x="929" y="151"/>
                  </a:lnTo>
                  <a:lnTo>
                    <a:pt x="937" y="138"/>
                  </a:lnTo>
                  <a:lnTo>
                    <a:pt x="948" y="125"/>
                  </a:lnTo>
                  <a:lnTo>
                    <a:pt x="960" y="113"/>
                  </a:lnTo>
                  <a:lnTo>
                    <a:pt x="975" y="106"/>
                  </a:lnTo>
                  <a:lnTo>
                    <a:pt x="992" y="100"/>
                  </a:lnTo>
                  <a:lnTo>
                    <a:pt x="1009" y="98"/>
                  </a:lnTo>
                  <a:lnTo>
                    <a:pt x="1009" y="98"/>
                  </a:lnTo>
                  <a:lnTo>
                    <a:pt x="1028" y="100"/>
                  </a:lnTo>
                  <a:lnTo>
                    <a:pt x="1045" y="106"/>
                  </a:lnTo>
                  <a:lnTo>
                    <a:pt x="1058" y="113"/>
                  </a:lnTo>
                  <a:lnTo>
                    <a:pt x="1071" y="125"/>
                  </a:lnTo>
                  <a:lnTo>
                    <a:pt x="1082" y="138"/>
                  </a:lnTo>
                  <a:lnTo>
                    <a:pt x="1090" y="151"/>
                  </a:lnTo>
                  <a:lnTo>
                    <a:pt x="1096" y="168"/>
                  </a:lnTo>
                  <a:lnTo>
                    <a:pt x="1097" y="187"/>
                  </a:lnTo>
                  <a:lnTo>
                    <a:pt x="1097" y="187"/>
                  </a:lnTo>
                  <a:lnTo>
                    <a:pt x="1096" y="204"/>
                  </a:lnTo>
                  <a:lnTo>
                    <a:pt x="1090" y="221"/>
                  </a:lnTo>
                  <a:lnTo>
                    <a:pt x="1082" y="236"/>
                  </a:lnTo>
                  <a:lnTo>
                    <a:pt x="1071" y="247"/>
                  </a:lnTo>
                  <a:lnTo>
                    <a:pt x="1058" y="259"/>
                  </a:lnTo>
                  <a:lnTo>
                    <a:pt x="1045" y="266"/>
                  </a:lnTo>
                  <a:lnTo>
                    <a:pt x="1028" y="272"/>
                  </a:lnTo>
                  <a:lnTo>
                    <a:pt x="1009" y="274"/>
                  </a:lnTo>
                  <a:lnTo>
                    <a:pt x="1009" y="274"/>
                  </a:lnTo>
                  <a:lnTo>
                    <a:pt x="992" y="272"/>
                  </a:lnTo>
                  <a:lnTo>
                    <a:pt x="975" y="266"/>
                  </a:lnTo>
                  <a:lnTo>
                    <a:pt x="960" y="259"/>
                  </a:lnTo>
                  <a:lnTo>
                    <a:pt x="948" y="247"/>
                  </a:lnTo>
                  <a:lnTo>
                    <a:pt x="937" y="236"/>
                  </a:lnTo>
                  <a:lnTo>
                    <a:pt x="929" y="221"/>
                  </a:lnTo>
                  <a:lnTo>
                    <a:pt x="924" y="204"/>
                  </a:lnTo>
                  <a:lnTo>
                    <a:pt x="922" y="187"/>
                  </a:lnTo>
                  <a:lnTo>
                    <a:pt x="922" y="187"/>
                  </a:lnTo>
                  <a:close/>
                  <a:moveTo>
                    <a:pt x="130" y="506"/>
                  </a:moveTo>
                  <a:lnTo>
                    <a:pt x="1895" y="506"/>
                  </a:lnTo>
                  <a:lnTo>
                    <a:pt x="1895" y="1530"/>
                  </a:lnTo>
                  <a:lnTo>
                    <a:pt x="130" y="1530"/>
                  </a:lnTo>
                  <a:lnTo>
                    <a:pt x="130" y="5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50" name="Freeform 112">
              <a:extLst>
                <a:ext uri="{FF2B5EF4-FFF2-40B4-BE49-F238E27FC236}">
                  <a16:creationId xmlns:a16="http://schemas.microsoft.com/office/drawing/2014/main" id="{D76FA815-A0F1-2B42-A75F-591F3FC269E2}"/>
                </a:ext>
              </a:extLst>
            </p:cNvPr>
            <p:cNvSpPr>
              <a:spLocks/>
            </p:cNvSpPr>
            <p:nvPr/>
          </p:nvSpPr>
          <p:spPr bwMode="auto">
            <a:xfrm>
              <a:off x="14154150" y="2395535"/>
              <a:ext cx="1195385" cy="587377"/>
            </a:xfrm>
            <a:custGeom>
              <a:avLst/>
              <a:gdLst>
                <a:gd name="T0" fmla="*/ 695 w 753"/>
                <a:gd name="T1" fmla="*/ 68 h 370"/>
                <a:gd name="T2" fmla="*/ 508 w 753"/>
                <a:gd name="T3" fmla="*/ 0 h 370"/>
                <a:gd name="T4" fmla="*/ 432 w 753"/>
                <a:gd name="T5" fmla="*/ 259 h 370"/>
                <a:gd name="T6" fmla="*/ 396 w 753"/>
                <a:gd name="T7" fmla="*/ 75 h 370"/>
                <a:gd name="T8" fmla="*/ 430 w 753"/>
                <a:gd name="T9" fmla="*/ 0 h 370"/>
                <a:gd name="T10" fmla="*/ 374 w 753"/>
                <a:gd name="T11" fmla="*/ 0 h 370"/>
                <a:gd name="T12" fmla="*/ 319 w 753"/>
                <a:gd name="T13" fmla="*/ 0 h 370"/>
                <a:gd name="T14" fmla="*/ 353 w 753"/>
                <a:gd name="T15" fmla="*/ 75 h 370"/>
                <a:gd name="T16" fmla="*/ 317 w 753"/>
                <a:gd name="T17" fmla="*/ 259 h 370"/>
                <a:gd name="T18" fmla="*/ 240 w 753"/>
                <a:gd name="T19" fmla="*/ 0 h 370"/>
                <a:gd name="T20" fmla="*/ 55 w 753"/>
                <a:gd name="T21" fmla="*/ 68 h 370"/>
                <a:gd name="T22" fmla="*/ 55 w 753"/>
                <a:gd name="T23" fmla="*/ 68 h 370"/>
                <a:gd name="T24" fmla="*/ 49 w 753"/>
                <a:gd name="T25" fmla="*/ 90 h 370"/>
                <a:gd name="T26" fmla="*/ 40 w 753"/>
                <a:gd name="T27" fmla="*/ 128 h 370"/>
                <a:gd name="T28" fmla="*/ 23 w 753"/>
                <a:gd name="T29" fmla="*/ 230 h 370"/>
                <a:gd name="T30" fmla="*/ 0 w 753"/>
                <a:gd name="T31" fmla="*/ 370 h 370"/>
                <a:gd name="T32" fmla="*/ 753 w 753"/>
                <a:gd name="T33" fmla="*/ 370 h 370"/>
                <a:gd name="T34" fmla="*/ 753 w 753"/>
                <a:gd name="T35" fmla="*/ 370 h 370"/>
                <a:gd name="T36" fmla="*/ 729 w 753"/>
                <a:gd name="T37" fmla="*/ 230 h 370"/>
                <a:gd name="T38" fmla="*/ 710 w 753"/>
                <a:gd name="T39" fmla="*/ 128 h 370"/>
                <a:gd name="T40" fmla="*/ 701 w 753"/>
                <a:gd name="T41" fmla="*/ 90 h 370"/>
                <a:gd name="T42" fmla="*/ 695 w 753"/>
                <a:gd name="T43" fmla="*/ 68 h 370"/>
                <a:gd name="T44" fmla="*/ 695 w 753"/>
                <a:gd name="T45" fmla="*/ 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3" h="370">
                  <a:moveTo>
                    <a:pt x="695" y="68"/>
                  </a:moveTo>
                  <a:lnTo>
                    <a:pt x="508" y="0"/>
                  </a:lnTo>
                  <a:lnTo>
                    <a:pt x="432" y="259"/>
                  </a:lnTo>
                  <a:lnTo>
                    <a:pt x="396" y="75"/>
                  </a:lnTo>
                  <a:lnTo>
                    <a:pt x="430" y="0"/>
                  </a:lnTo>
                  <a:lnTo>
                    <a:pt x="374" y="0"/>
                  </a:lnTo>
                  <a:lnTo>
                    <a:pt x="319" y="0"/>
                  </a:lnTo>
                  <a:lnTo>
                    <a:pt x="353" y="75"/>
                  </a:lnTo>
                  <a:lnTo>
                    <a:pt x="317" y="259"/>
                  </a:lnTo>
                  <a:lnTo>
                    <a:pt x="240" y="0"/>
                  </a:lnTo>
                  <a:lnTo>
                    <a:pt x="55" y="68"/>
                  </a:lnTo>
                  <a:lnTo>
                    <a:pt x="55" y="68"/>
                  </a:lnTo>
                  <a:lnTo>
                    <a:pt x="49" y="90"/>
                  </a:lnTo>
                  <a:lnTo>
                    <a:pt x="40" y="128"/>
                  </a:lnTo>
                  <a:lnTo>
                    <a:pt x="23" y="230"/>
                  </a:lnTo>
                  <a:lnTo>
                    <a:pt x="0" y="370"/>
                  </a:lnTo>
                  <a:lnTo>
                    <a:pt x="753" y="370"/>
                  </a:lnTo>
                  <a:lnTo>
                    <a:pt x="753" y="370"/>
                  </a:lnTo>
                  <a:lnTo>
                    <a:pt x="729" y="230"/>
                  </a:lnTo>
                  <a:lnTo>
                    <a:pt x="710" y="128"/>
                  </a:lnTo>
                  <a:lnTo>
                    <a:pt x="701" y="90"/>
                  </a:lnTo>
                  <a:lnTo>
                    <a:pt x="695" y="68"/>
                  </a:lnTo>
                  <a:lnTo>
                    <a:pt x="695"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sp>
          <p:nvSpPr>
            <p:cNvPr id="651" name="Freeform 113">
              <a:extLst>
                <a:ext uri="{FF2B5EF4-FFF2-40B4-BE49-F238E27FC236}">
                  <a16:creationId xmlns:a16="http://schemas.microsoft.com/office/drawing/2014/main" id="{815C21B5-D5D3-A775-9195-86969913E6B6}"/>
                </a:ext>
              </a:extLst>
            </p:cNvPr>
            <p:cNvSpPr>
              <a:spLocks/>
            </p:cNvSpPr>
            <p:nvPr/>
          </p:nvSpPr>
          <p:spPr bwMode="auto">
            <a:xfrm>
              <a:off x="14457366" y="1585916"/>
              <a:ext cx="584201" cy="698498"/>
            </a:xfrm>
            <a:custGeom>
              <a:avLst/>
              <a:gdLst>
                <a:gd name="T0" fmla="*/ 49 w 368"/>
                <a:gd name="T1" fmla="*/ 321 h 440"/>
                <a:gd name="T2" fmla="*/ 71 w 368"/>
                <a:gd name="T3" fmla="*/ 368 h 440"/>
                <a:gd name="T4" fmla="*/ 100 w 368"/>
                <a:gd name="T5" fmla="*/ 406 h 440"/>
                <a:gd name="T6" fmla="*/ 138 w 368"/>
                <a:gd name="T7" fmla="*/ 430 h 440"/>
                <a:gd name="T8" fmla="*/ 158 w 368"/>
                <a:gd name="T9" fmla="*/ 438 h 440"/>
                <a:gd name="T10" fmla="*/ 183 w 368"/>
                <a:gd name="T11" fmla="*/ 440 h 440"/>
                <a:gd name="T12" fmla="*/ 196 w 368"/>
                <a:gd name="T13" fmla="*/ 440 h 440"/>
                <a:gd name="T14" fmla="*/ 219 w 368"/>
                <a:gd name="T15" fmla="*/ 434 h 440"/>
                <a:gd name="T16" fmla="*/ 249 w 368"/>
                <a:gd name="T17" fmla="*/ 421 h 440"/>
                <a:gd name="T18" fmla="*/ 283 w 368"/>
                <a:gd name="T19" fmla="*/ 389 h 440"/>
                <a:gd name="T20" fmla="*/ 307 w 368"/>
                <a:gd name="T21" fmla="*/ 345 h 440"/>
                <a:gd name="T22" fmla="*/ 317 w 368"/>
                <a:gd name="T23" fmla="*/ 321 h 440"/>
                <a:gd name="T24" fmla="*/ 332 w 368"/>
                <a:gd name="T25" fmla="*/ 317 h 440"/>
                <a:gd name="T26" fmla="*/ 343 w 368"/>
                <a:gd name="T27" fmla="*/ 306 h 440"/>
                <a:gd name="T28" fmla="*/ 355 w 368"/>
                <a:gd name="T29" fmla="*/ 289 h 440"/>
                <a:gd name="T30" fmla="*/ 362 w 368"/>
                <a:gd name="T31" fmla="*/ 268 h 440"/>
                <a:gd name="T32" fmla="*/ 368 w 368"/>
                <a:gd name="T33" fmla="*/ 238 h 440"/>
                <a:gd name="T34" fmla="*/ 364 w 368"/>
                <a:gd name="T35" fmla="*/ 217 h 440"/>
                <a:gd name="T36" fmla="*/ 355 w 368"/>
                <a:gd name="T37" fmla="*/ 204 h 440"/>
                <a:gd name="T38" fmla="*/ 341 w 368"/>
                <a:gd name="T39" fmla="*/ 196 h 440"/>
                <a:gd name="T40" fmla="*/ 341 w 368"/>
                <a:gd name="T41" fmla="*/ 196 h 440"/>
                <a:gd name="T42" fmla="*/ 341 w 368"/>
                <a:gd name="T43" fmla="*/ 185 h 440"/>
                <a:gd name="T44" fmla="*/ 343 w 368"/>
                <a:gd name="T45" fmla="*/ 123 h 440"/>
                <a:gd name="T46" fmla="*/ 336 w 368"/>
                <a:gd name="T47" fmla="*/ 90 h 440"/>
                <a:gd name="T48" fmla="*/ 330 w 368"/>
                <a:gd name="T49" fmla="*/ 79 h 440"/>
                <a:gd name="T50" fmla="*/ 315 w 368"/>
                <a:gd name="T51" fmla="*/ 66 h 440"/>
                <a:gd name="T52" fmla="*/ 307 w 368"/>
                <a:gd name="T53" fmla="*/ 64 h 440"/>
                <a:gd name="T54" fmla="*/ 287 w 368"/>
                <a:gd name="T55" fmla="*/ 39 h 440"/>
                <a:gd name="T56" fmla="*/ 258 w 368"/>
                <a:gd name="T57" fmla="*/ 22 h 440"/>
                <a:gd name="T58" fmla="*/ 230 w 368"/>
                <a:gd name="T59" fmla="*/ 13 h 440"/>
                <a:gd name="T60" fmla="*/ 205 w 368"/>
                <a:gd name="T61" fmla="*/ 5 h 440"/>
                <a:gd name="T62" fmla="*/ 158 w 368"/>
                <a:gd name="T63" fmla="*/ 0 h 440"/>
                <a:gd name="T64" fmla="*/ 124 w 368"/>
                <a:gd name="T65" fmla="*/ 2 h 440"/>
                <a:gd name="T66" fmla="*/ 100 w 368"/>
                <a:gd name="T67" fmla="*/ 9 h 440"/>
                <a:gd name="T68" fmla="*/ 83 w 368"/>
                <a:gd name="T69" fmla="*/ 21 h 440"/>
                <a:gd name="T70" fmla="*/ 71 w 368"/>
                <a:gd name="T71" fmla="*/ 36 h 440"/>
                <a:gd name="T72" fmla="*/ 64 w 368"/>
                <a:gd name="T73" fmla="*/ 58 h 440"/>
                <a:gd name="T74" fmla="*/ 64 w 368"/>
                <a:gd name="T75" fmla="*/ 60 h 440"/>
                <a:gd name="T76" fmla="*/ 64 w 368"/>
                <a:gd name="T77" fmla="*/ 62 h 440"/>
                <a:gd name="T78" fmla="*/ 64 w 368"/>
                <a:gd name="T79" fmla="*/ 60 h 440"/>
                <a:gd name="T80" fmla="*/ 53 w 368"/>
                <a:gd name="T81" fmla="*/ 60 h 440"/>
                <a:gd name="T82" fmla="*/ 39 w 368"/>
                <a:gd name="T83" fmla="*/ 66 h 440"/>
                <a:gd name="T84" fmla="*/ 30 w 368"/>
                <a:gd name="T85" fmla="*/ 79 h 440"/>
                <a:gd name="T86" fmla="*/ 26 w 368"/>
                <a:gd name="T87" fmla="*/ 92 h 440"/>
                <a:gd name="T88" fmla="*/ 24 w 368"/>
                <a:gd name="T89" fmla="*/ 158 h 440"/>
                <a:gd name="T90" fmla="*/ 26 w 368"/>
                <a:gd name="T91" fmla="*/ 196 h 440"/>
                <a:gd name="T92" fmla="*/ 26 w 368"/>
                <a:gd name="T93" fmla="*/ 196 h 440"/>
                <a:gd name="T94" fmla="*/ 13 w 368"/>
                <a:gd name="T95" fmla="*/ 204 h 440"/>
                <a:gd name="T96" fmla="*/ 2 w 368"/>
                <a:gd name="T97" fmla="*/ 217 h 440"/>
                <a:gd name="T98" fmla="*/ 0 w 368"/>
                <a:gd name="T99" fmla="*/ 238 h 440"/>
                <a:gd name="T100" fmla="*/ 5 w 368"/>
                <a:gd name="T101" fmla="*/ 268 h 440"/>
                <a:gd name="T102" fmla="*/ 13 w 368"/>
                <a:gd name="T103" fmla="*/ 289 h 440"/>
                <a:gd name="T104" fmla="*/ 22 w 368"/>
                <a:gd name="T105" fmla="*/ 306 h 440"/>
                <a:gd name="T106" fmla="*/ 36 w 368"/>
                <a:gd name="T107" fmla="*/ 317 h 440"/>
                <a:gd name="T108" fmla="*/ 49 w 368"/>
                <a:gd name="T109" fmla="*/ 321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8" h="440">
                  <a:moveTo>
                    <a:pt x="49" y="321"/>
                  </a:moveTo>
                  <a:lnTo>
                    <a:pt x="49" y="321"/>
                  </a:lnTo>
                  <a:lnTo>
                    <a:pt x="60" y="345"/>
                  </a:lnTo>
                  <a:lnTo>
                    <a:pt x="71" y="368"/>
                  </a:lnTo>
                  <a:lnTo>
                    <a:pt x="85" y="389"/>
                  </a:lnTo>
                  <a:lnTo>
                    <a:pt x="100" y="406"/>
                  </a:lnTo>
                  <a:lnTo>
                    <a:pt x="117" y="421"/>
                  </a:lnTo>
                  <a:lnTo>
                    <a:pt x="138" y="430"/>
                  </a:lnTo>
                  <a:lnTo>
                    <a:pt x="147" y="434"/>
                  </a:lnTo>
                  <a:lnTo>
                    <a:pt x="158" y="438"/>
                  </a:lnTo>
                  <a:lnTo>
                    <a:pt x="172" y="440"/>
                  </a:lnTo>
                  <a:lnTo>
                    <a:pt x="183" y="440"/>
                  </a:lnTo>
                  <a:lnTo>
                    <a:pt x="183" y="440"/>
                  </a:lnTo>
                  <a:lnTo>
                    <a:pt x="196" y="440"/>
                  </a:lnTo>
                  <a:lnTo>
                    <a:pt x="207" y="438"/>
                  </a:lnTo>
                  <a:lnTo>
                    <a:pt x="219" y="434"/>
                  </a:lnTo>
                  <a:lnTo>
                    <a:pt x="230" y="430"/>
                  </a:lnTo>
                  <a:lnTo>
                    <a:pt x="249" y="421"/>
                  </a:lnTo>
                  <a:lnTo>
                    <a:pt x="268" y="406"/>
                  </a:lnTo>
                  <a:lnTo>
                    <a:pt x="283" y="389"/>
                  </a:lnTo>
                  <a:lnTo>
                    <a:pt x="296" y="368"/>
                  </a:lnTo>
                  <a:lnTo>
                    <a:pt x="307" y="345"/>
                  </a:lnTo>
                  <a:lnTo>
                    <a:pt x="317" y="321"/>
                  </a:lnTo>
                  <a:lnTo>
                    <a:pt x="317" y="321"/>
                  </a:lnTo>
                  <a:lnTo>
                    <a:pt x="324" y="319"/>
                  </a:lnTo>
                  <a:lnTo>
                    <a:pt x="332" y="317"/>
                  </a:lnTo>
                  <a:lnTo>
                    <a:pt x="338" y="313"/>
                  </a:lnTo>
                  <a:lnTo>
                    <a:pt x="343" y="306"/>
                  </a:lnTo>
                  <a:lnTo>
                    <a:pt x="349" y="298"/>
                  </a:lnTo>
                  <a:lnTo>
                    <a:pt x="355" y="289"/>
                  </a:lnTo>
                  <a:lnTo>
                    <a:pt x="362" y="268"/>
                  </a:lnTo>
                  <a:lnTo>
                    <a:pt x="362" y="268"/>
                  </a:lnTo>
                  <a:lnTo>
                    <a:pt x="366" y="251"/>
                  </a:lnTo>
                  <a:lnTo>
                    <a:pt x="368" y="238"/>
                  </a:lnTo>
                  <a:lnTo>
                    <a:pt x="368" y="226"/>
                  </a:lnTo>
                  <a:lnTo>
                    <a:pt x="364" y="217"/>
                  </a:lnTo>
                  <a:lnTo>
                    <a:pt x="360" y="209"/>
                  </a:lnTo>
                  <a:lnTo>
                    <a:pt x="355" y="204"/>
                  </a:lnTo>
                  <a:lnTo>
                    <a:pt x="349" y="200"/>
                  </a:lnTo>
                  <a:lnTo>
                    <a:pt x="341" y="196"/>
                  </a:lnTo>
                  <a:lnTo>
                    <a:pt x="341" y="196"/>
                  </a:lnTo>
                  <a:lnTo>
                    <a:pt x="341" y="196"/>
                  </a:lnTo>
                  <a:lnTo>
                    <a:pt x="341" y="196"/>
                  </a:lnTo>
                  <a:lnTo>
                    <a:pt x="341" y="185"/>
                  </a:lnTo>
                  <a:lnTo>
                    <a:pt x="343" y="157"/>
                  </a:lnTo>
                  <a:lnTo>
                    <a:pt x="343" y="123"/>
                  </a:lnTo>
                  <a:lnTo>
                    <a:pt x="340" y="106"/>
                  </a:lnTo>
                  <a:lnTo>
                    <a:pt x="336" y="90"/>
                  </a:lnTo>
                  <a:lnTo>
                    <a:pt x="336" y="90"/>
                  </a:lnTo>
                  <a:lnTo>
                    <a:pt x="330" y="79"/>
                  </a:lnTo>
                  <a:lnTo>
                    <a:pt x="323" y="72"/>
                  </a:lnTo>
                  <a:lnTo>
                    <a:pt x="315" y="66"/>
                  </a:lnTo>
                  <a:lnTo>
                    <a:pt x="307" y="64"/>
                  </a:lnTo>
                  <a:lnTo>
                    <a:pt x="307" y="64"/>
                  </a:lnTo>
                  <a:lnTo>
                    <a:pt x="298" y="51"/>
                  </a:lnTo>
                  <a:lnTo>
                    <a:pt x="287" y="39"/>
                  </a:lnTo>
                  <a:lnTo>
                    <a:pt x="273" y="30"/>
                  </a:lnTo>
                  <a:lnTo>
                    <a:pt x="258" y="22"/>
                  </a:lnTo>
                  <a:lnTo>
                    <a:pt x="243" y="17"/>
                  </a:lnTo>
                  <a:lnTo>
                    <a:pt x="230" y="13"/>
                  </a:lnTo>
                  <a:lnTo>
                    <a:pt x="205" y="5"/>
                  </a:lnTo>
                  <a:lnTo>
                    <a:pt x="205" y="5"/>
                  </a:lnTo>
                  <a:lnTo>
                    <a:pt x="181" y="2"/>
                  </a:lnTo>
                  <a:lnTo>
                    <a:pt x="158" y="0"/>
                  </a:lnTo>
                  <a:lnTo>
                    <a:pt x="139" y="0"/>
                  </a:lnTo>
                  <a:lnTo>
                    <a:pt x="124" y="2"/>
                  </a:lnTo>
                  <a:lnTo>
                    <a:pt x="111" y="5"/>
                  </a:lnTo>
                  <a:lnTo>
                    <a:pt x="100" y="9"/>
                  </a:lnTo>
                  <a:lnTo>
                    <a:pt x="90" y="15"/>
                  </a:lnTo>
                  <a:lnTo>
                    <a:pt x="83" y="21"/>
                  </a:lnTo>
                  <a:lnTo>
                    <a:pt x="75" y="28"/>
                  </a:lnTo>
                  <a:lnTo>
                    <a:pt x="71" y="36"/>
                  </a:lnTo>
                  <a:lnTo>
                    <a:pt x="66" y="49"/>
                  </a:lnTo>
                  <a:lnTo>
                    <a:pt x="64" y="58"/>
                  </a:lnTo>
                  <a:lnTo>
                    <a:pt x="64" y="60"/>
                  </a:lnTo>
                  <a:lnTo>
                    <a:pt x="64" y="60"/>
                  </a:lnTo>
                  <a:lnTo>
                    <a:pt x="64" y="62"/>
                  </a:lnTo>
                  <a:lnTo>
                    <a:pt x="64" y="62"/>
                  </a:lnTo>
                  <a:lnTo>
                    <a:pt x="64" y="60"/>
                  </a:lnTo>
                  <a:lnTo>
                    <a:pt x="64" y="60"/>
                  </a:lnTo>
                  <a:lnTo>
                    <a:pt x="58" y="60"/>
                  </a:lnTo>
                  <a:lnTo>
                    <a:pt x="53" y="60"/>
                  </a:lnTo>
                  <a:lnTo>
                    <a:pt x="47" y="62"/>
                  </a:lnTo>
                  <a:lnTo>
                    <a:pt x="39" y="66"/>
                  </a:lnTo>
                  <a:lnTo>
                    <a:pt x="34" y="72"/>
                  </a:lnTo>
                  <a:lnTo>
                    <a:pt x="30" y="79"/>
                  </a:lnTo>
                  <a:lnTo>
                    <a:pt x="26" y="92"/>
                  </a:lnTo>
                  <a:lnTo>
                    <a:pt x="26" y="92"/>
                  </a:lnTo>
                  <a:lnTo>
                    <a:pt x="24" y="124"/>
                  </a:lnTo>
                  <a:lnTo>
                    <a:pt x="24" y="158"/>
                  </a:lnTo>
                  <a:lnTo>
                    <a:pt x="26" y="196"/>
                  </a:lnTo>
                  <a:lnTo>
                    <a:pt x="26" y="196"/>
                  </a:lnTo>
                  <a:lnTo>
                    <a:pt x="26" y="196"/>
                  </a:lnTo>
                  <a:lnTo>
                    <a:pt x="26" y="196"/>
                  </a:lnTo>
                  <a:lnTo>
                    <a:pt x="19" y="200"/>
                  </a:lnTo>
                  <a:lnTo>
                    <a:pt x="13" y="204"/>
                  </a:lnTo>
                  <a:lnTo>
                    <a:pt x="7" y="209"/>
                  </a:lnTo>
                  <a:lnTo>
                    <a:pt x="2" y="217"/>
                  </a:lnTo>
                  <a:lnTo>
                    <a:pt x="0" y="226"/>
                  </a:lnTo>
                  <a:lnTo>
                    <a:pt x="0" y="238"/>
                  </a:lnTo>
                  <a:lnTo>
                    <a:pt x="0" y="251"/>
                  </a:lnTo>
                  <a:lnTo>
                    <a:pt x="5" y="268"/>
                  </a:lnTo>
                  <a:lnTo>
                    <a:pt x="5" y="268"/>
                  </a:lnTo>
                  <a:lnTo>
                    <a:pt x="13" y="289"/>
                  </a:lnTo>
                  <a:lnTo>
                    <a:pt x="17" y="298"/>
                  </a:lnTo>
                  <a:lnTo>
                    <a:pt x="22" y="306"/>
                  </a:lnTo>
                  <a:lnTo>
                    <a:pt x="28" y="313"/>
                  </a:lnTo>
                  <a:lnTo>
                    <a:pt x="36" y="317"/>
                  </a:lnTo>
                  <a:lnTo>
                    <a:pt x="41" y="319"/>
                  </a:lnTo>
                  <a:lnTo>
                    <a:pt x="49" y="321"/>
                  </a:lnTo>
                  <a:lnTo>
                    <a:pt x="49" y="3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effectLst/>
                <a:uLnTx/>
                <a:uFillTx/>
                <a:latin typeface="Calibri"/>
                <a:ea typeface="+mn-ea"/>
                <a:cs typeface="+mn-cs"/>
              </a:endParaRPr>
            </a:p>
          </p:txBody>
        </p:sp>
      </p:grpSp>
      <p:sp>
        <p:nvSpPr>
          <p:cNvPr id="656" name="Freeform: Shape 655">
            <a:extLst>
              <a:ext uri="{FF2B5EF4-FFF2-40B4-BE49-F238E27FC236}">
                <a16:creationId xmlns:a16="http://schemas.microsoft.com/office/drawing/2014/main" id="{17D753A4-4F79-1A59-70E0-9744919B7ABC}"/>
              </a:ext>
            </a:extLst>
          </p:cNvPr>
          <p:cNvSpPr/>
          <p:nvPr/>
        </p:nvSpPr>
        <p:spPr>
          <a:xfrm rot="5400000">
            <a:off x="4287240" y="2702787"/>
            <a:ext cx="25173" cy="25468"/>
          </a:xfrm>
          <a:custGeom>
            <a:avLst/>
            <a:gdLst>
              <a:gd name="connsiteX0" fmla="*/ 29930 w 50402"/>
              <a:gd name="connsiteY0" fmla="*/ 528 h 47749"/>
              <a:gd name="connsiteX1" fmla="*/ 27569 w 50402"/>
              <a:gd name="connsiteY1" fmla="*/ 183 h 47749"/>
              <a:gd name="connsiteX2" fmla="*/ 183 w 50402"/>
              <a:gd name="connsiteY2" fmla="*/ 21618 h 47749"/>
              <a:gd name="connsiteX3" fmla="*/ 20619 w 50402"/>
              <a:gd name="connsiteY3" fmla="*/ 48861 h 47749"/>
              <a:gd name="connsiteX4" fmla="*/ 23430 w 50402"/>
              <a:gd name="connsiteY4" fmla="*/ 49259 h 47749"/>
              <a:gd name="connsiteX5" fmla="*/ 26720 w 50402"/>
              <a:gd name="connsiteY5" fmla="*/ 49471 h 47749"/>
              <a:gd name="connsiteX6" fmla="*/ 51107 w 50402"/>
              <a:gd name="connsiteY6" fmla="*/ 24678 h 47749"/>
              <a:gd name="connsiteX7" fmla="*/ 29930 w 50402"/>
              <a:gd name="connsiteY7" fmla="*/ 528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02" h="47749">
                <a:moveTo>
                  <a:pt x="29930" y="528"/>
                </a:moveTo>
                <a:lnTo>
                  <a:pt x="27569" y="183"/>
                </a:lnTo>
                <a:cubicBezTo>
                  <a:pt x="14087" y="-1460"/>
                  <a:pt x="1826" y="8136"/>
                  <a:pt x="183" y="21618"/>
                </a:cubicBezTo>
                <a:cubicBezTo>
                  <a:pt x="-1413" y="34710"/>
                  <a:pt x="7603" y="46729"/>
                  <a:pt x="20619" y="48861"/>
                </a:cubicBezTo>
                <a:lnTo>
                  <a:pt x="23430" y="49259"/>
                </a:lnTo>
                <a:cubicBezTo>
                  <a:pt x="24520" y="49408"/>
                  <a:pt x="25620" y="49479"/>
                  <a:pt x="26720" y="49471"/>
                </a:cubicBezTo>
                <a:cubicBezTo>
                  <a:pt x="40301" y="49359"/>
                  <a:pt x="51219" y="38259"/>
                  <a:pt x="51107" y="24678"/>
                </a:cubicBezTo>
                <a:cubicBezTo>
                  <a:pt x="51007" y="12493"/>
                  <a:pt x="41998" y="2219"/>
                  <a:pt x="29930" y="528"/>
                </a:cubicBezTo>
                <a:close/>
              </a:path>
            </a:pathLst>
          </a:custGeom>
          <a:solidFill>
            <a:srgbClr val="046A38"/>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57" name="Freeform: Shape 656">
            <a:extLst>
              <a:ext uri="{FF2B5EF4-FFF2-40B4-BE49-F238E27FC236}">
                <a16:creationId xmlns:a16="http://schemas.microsoft.com/office/drawing/2014/main" id="{7A0E5B98-5A4F-30B8-56BA-62B63744C5F0}"/>
              </a:ext>
            </a:extLst>
          </p:cNvPr>
          <p:cNvSpPr/>
          <p:nvPr/>
        </p:nvSpPr>
        <p:spPr>
          <a:xfrm rot="5400000">
            <a:off x="4285006" y="2814358"/>
            <a:ext cx="25173" cy="25468"/>
          </a:xfrm>
          <a:custGeom>
            <a:avLst/>
            <a:gdLst>
              <a:gd name="connsiteX0" fmla="*/ 27244 w 50402"/>
              <a:gd name="connsiteY0" fmla="*/ 0 h 47749"/>
              <a:gd name="connsiteX1" fmla="*/ 24591 w 50402"/>
              <a:gd name="connsiteY1" fmla="*/ 0 h 47749"/>
              <a:gd name="connsiteX2" fmla="*/ 0 w 50402"/>
              <a:gd name="connsiteY2" fmla="*/ 24591 h 47749"/>
              <a:gd name="connsiteX3" fmla="*/ 24591 w 50402"/>
              <a:gd name="connsiteY3" fmla="*/ 49182 h 47749"/>
              <a:gd name="connsiteX4" fmla="*/ 27244 w 50402"/>
              <a:gd name="connsiteY4" fmla="*/ 49182 h 47749"/>
              <a:gd name="connsiteX5" fmla="*/ 51835 w 50402"/>
              <a:gd name="connsiteY5" fmla="*/ 24591 h 47749"/>
              <a:gd name="connsiteX6" fmla="*/ 27244 w 50402"/>
              <a:gd name="connsiteY6" fmla="*/ 0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2" h="47749">
                <a:moveTo>
                  <a:pt x="27244" y="0"/>
                </a:moveTo>
                <a:lnTo>
                  <a:pt x="24591" y="0"/>
                </a:lnTo>
                <a:cubicBezTo>
                  <a:pt x="11010" y="0"/>
                  <a:pt x="0" y="11010"/>
                  <a:pt x="0" y="24591"/>
                </a:cubicBezTo>
                <a:cubicBezTo>
                  <a:pt x="0" y="38172"/>
                  <a:pt x="11010" y="49182"/>
                  <a:pt x="24591" y="49182"/>
                </a:cubicBezTo>
                <a:lnTo>
                  <a:pt x="27244" y="49182"/>
                </a:lnTo>
                <a:cubicBezTo>
                  <a:pt x="40825" y="49182"/>
                  <a:pt x="51835" y="38172"/>
                  <a:pt x="51835" y="24591"/>
                </a:cubicBezTo>
                <a:cubicBezTo>
                  <a:pt x="51835" y="11010"/>
                  <a:pt x="40825" y="0"/>
                  <a:pt x="27244" y="0"/>
                </a:cubicBezTo>
                <a:close/>
              </a:path>
            </a:pathLst>
          </a:custGeom>
          <a:solidFill>
            <a:srgbClr val="046A38"/>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58" name="Freeform: Shape 657">
            <a:extLst>
              <a:ext uri="{FF2B5EF4-FFF2-40B4-BE49-F238E27FC236}">
                <a16:creationId xmlns:a16="http://schemas.microsoft.com/office/drawing/2014/main" id="{298F43C2-B6F2-DD5A-6B65-8B198DBF4DC5}"/>
              </a:ext>
            </a:extLst>
          </p:cNvPr>
          <p:cNvSpPr/>
          <p:nvPr/>
        </p:nvSpPr>
        <p:spPr>
          <a:xfrm rot="5400000">
            <a:off x="4332421" y="2599821"/>
            <a:ext cx="25173" cy="26884"/>
          </a:xfrm>
          <a:custGeom>
            <a:avLst/>
            <a:gdLst>
              <a:gd name="connsiteX0" fmla="*/ 41535 w 50402"/>
              <a:gd name="connsiteY0" fmla="*/ 6585 h 50402"/>
              <a:gd name="connsiteX1" fmla="*/ 39625 w 50402"/>
              <a:gd name="connsiteY1" fmla="*/ 5126 h 50402"/>
              <a:gd name="connsiteX2" fmla="*/ 5126 w 50402"/>
              <a:gd name="connsiteY2" fmla="*/ 9569 h 50402"/>
              <a:gd name="connsiteX3" fmla="*/ 9569 w 50402"/>
              <a:gd name="connsiteY3" fmla="*/ 44068 h 50402"/>
              <a:gd name="connsiteX4" fmla="*/ 11798 w 50402"/>
              <a:gd name="connsiteY4" fmla="*/ 45766 h 50402"/>
              <a:gd name="connsiteX5" fmla="*/ 46257 w 50402"/>
              <a:gd name="connsiteY5" fmla="*/ 41044 h 50402"/>
              <a:gd name="connsiteX6" fmla="*/ 41535 w 50402"/>
              <a:gd name="connsiteY6" fmla="*/ 6585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2" h="50402">
                <a:moveTo>
                  <a:pt x="41535" y="6585"/>
                </a:moveTo>
                <a:lnTo>
                  <a:pt x="39625" y="5126"/>
                </a:lnTo>
                <a:cubicBezTo>
                  <a:pt x="28871" y="-3174"/>
                  <a:pt x="13426" y="-1184"/>
                  <a:pt x="5126" y="9569"/>
                </a:cubicBezTo>
                <a:cubicBezTo>
                  <a:pt x="-3174" y="20323"/>
                  <a:pt x="-1184" y="35769"/>
                  <a:pt x="9569" y="44068"/>
                </a:cubicBezTo>
                <a:lnTo>
                  <a:pt x="11798" y="45766"/>
                </a:lnTo>
                <a:cubicBezTo>
                  <a:pt x="22617" y="53978"/>
                  <a:pt x="38045" y="51864"/>
                  <a:pt x="46257" y="41044"/>
                </a:cubicBezTo>
                <a:cubicBezTo>
                  <a:pt x="54468" y="30225"/>
                  <a:pt x="52354" y="14797"/>
                  <a:pt x="41535" y="6585"/>
                </a:cubicBezTo>
                <a:close/>
              </a:path>
            </a:pathLst>
          </a:custGeom>
          <a:solidFill>
            <a:srgbClr val="046A38"/>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59" name="Freeform: Shape 658">
            <a:extLst>
              <a:ext uri="{FF2B5EF4-FFF2-40B4-BE49-F238E27FC236}">
                <a16:creationId xmlns:a16="http://schemas.microsoft.com/office/drawing/2014/main" id="{240C0C3A-C1BD-1395-C6DA-1DE9DB61DC12}"/>
              </a:ext>
            </a:extLst>
          </p:cNvPr>
          <p:cNvSpPr/>
          <p:nvPr/>
        </p:nvSpPr>
        <p:spPr>
          <a:xfrm rot="5400000">
            <a:off x="4285006" y="2926296"/>
            <a:ext cx="25173" cy="25468"/>
          </a:xfrm>
          <a:custGeom>
            <a:avLst/>
            <a:gdLst>
              <a:gd name="connsiteX0" fmla="*/ 27244 w 50402"/>
              <a:gd name="connsiteY0" fmla="*/ 0 h 47749"/>
              <a:gd name="connsiteX1" fmla="*/ 24591 w 50402"/>
              <a:gd name="connsiteY1" fmla="*/ 0 h 47749"/>
              <a:gd name="connsiteX2" fmla="*/ 0 w 50402"/>
              <a:gd name="connsiteY2" fmla="*/ 24591 h 47749"/>
              <a:gd name="connsiteX3" fmla="*/ 24591 w 50402"/>
              <a:gd name="connsiteY3" fmla="*/ 49182 h 47749"/>
              <a:gd name="connsiteX4" fmla="*/ 27244 w 50402"/>
              <a:gd name="connsiteY4" fmla="*/ 49182 h 47749"/>
              <a:gd name="connsiteX5" fmla="*/ 51835 w 50402"/>
              <a:gd name="connsiteY5" fmla="*/ 24591 h 47749"/>
              <a:gd name="connsiteX6" fmla="*/ 27244 w 50402"/>
              <a:gd name="connsiteY6" fmla="*/ 0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2" h="47749">
                <a:moveTo>
                  <a:pt x="27244" y="0"/>
                </a:moveTo>
                <a:lnTo>
                  <a:pt x="24591" y="0"/>
                </a:lnTo>
                <a:cubicBezTo>
                  <a:pt x="11010" y="0"/>
                  <a:pt x="0" y="11010"/>
                  <a:pt x="0" y="24591"/>
                </a:cubicBezTo>
                <a:cubicBezTo>
                  <a:pt x="0" y="38172"/>
                  <a:pt x="11010" y="49182"/>
                  <a:pt x="24591" y="49182"/>
                </a:cubicBezTo>
                <a:lnTo>
                  <a:pt x="27244" y="49182"/>
                </a:lnTo>
                <a:cubicBezTo>
                  <a:pt x="40825" y="49182"/>
                  <a:pt x="51835" y="38172"/>
                  <a:pt x="51835" y="24591"/>
                </a:cubicBezTo>
                <a:cubicBezTo>
                  <a:pt x="51835" y="11010"/>
                  <a:pt x="40825" y="0"/>
                  <a:pt x="27244" y="0"/>
                </a:cubicBezTo>
                <a:close/>
              </a:path>
            </a:pathLst>
          </a:custGeom>
          <a:solidFill>
            <a:srgbClr val="046A38"/>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60" name="Freeform: Shape 659">
            <a:extLst>
              <a:ext uri="{FF2B5EF4-FFF2-40B4-BE49-F238E27FC236}">
                <a16:creationId xmlns:a16="http://schemas.microsoft.com/office/drawing/2014/main" id="{39EB7C25-C2B0-FFC1-0A7D-7669A6D60BD9}"/>
              </a:ext>
            </a:extLst>
          </p:cNvPr>
          <p:cNvSpPr/>
          <p:nvPr/>
        </p:nvSpPr>
        <p:spPr>
          <a:xfrm rot="5400000">
            <a:off x="4426065" y="2530958"/>
            <a:ext cx="25173" cy="28298"/>
          </a:xfrm>
          <a:custGeom>
            <a:avLst/>
            <a:gdLst>
              <a:gd name="connsiteX0" fmla="*/ 47887 w 50402"/>
              <a:gd name="connsiteY0" fmla="*/ 16704 h 53054"/>
              <a:gd name="connsiteX1" fmla="*/ 16704 w 50402"/>
              <a:gd name="connsiteY1" fmla="*/ 1308 h 53054"/>
              <a:gd name="connsiteX2" fmla="*/ 1308 w 50402"/>
              <a:gd name="connsiteY2" fmla="*/ 32492 h 53054"/>
              <a:gd name="connsiteX3" fmla="*/ 2790 w 50402"/>
              <a:gd name="connsiteY3" fmla="*/ 35962 h 53054"/>
              <a:gd name="connsiteX4" fmla="*/ 3878 w 50402"/>
              <a:gd name="connsiteY4" fmla="*/ 38615 h 53054"/>
              <a:gd name="connsiteX5" fmla="*/ 35991 w 50402"/>
              <a:gd name="connsiteY5" fmla="*/ 51965 h 53054"/>
              <a:gd name="connsiteX6" fmla="*/ 49340 w 50402"/>
              <a:gd name="connsiteY6" fmla="*/ 19852 h 53054"/>
              <a:gd name="connsiteX7" fmla="*/ 48975 w 50402"/>
              <a:gd name="connsiteY7" fmla="*/ 19011 h 53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02" h="53054">
                <a:moveTo>
                  <a:pt x="47887" y="16704"/>
                </a:moveTo>
                <a:cubicBezTo>
                  <a:pt x="43527" y="3841"/>
                  <a:pt x="29566" y="-3052"/>
                  <a:pt x="16704" y="1308"/>
                </a:cubicBezTo>
                <a:cubicBezTo>
                  <a:pt x="3841" y="5668"/>
                  <a:pt x="-3052" y="19629"/>
                  <a:pt x="1308" y="32492"/>
                </a:cubicBezTo>
                <a:cubicBezTo>
                  <a:pt x="1713" y="33685"/>
                  <a:pt x="2208" y="34845"/>
                  <a:pt x="2790" y="35962"/>
                </a:cubicBezTo>
                <a:lnTo>
                  <a:pt x="3878" y="38615"/>
                </a:lnTo>
                <a:cubicBezTo>
                  <a:pt x="9059" y="51169"/>
                  <a:pt x="23436" y="57146"/>
                  <a:pt x="35991" y="51965"/>
                </a:cubicBezTo>
                <a:cubicBezTo>
                  <a:pt x="48545" y="46784"/>
                  <a:pt x="54521" y="32406"/>
                  <a:pt x="49340" y="19852"/>
                </a:cubicBezTo>
                <a:cubicBezTo>
                  <a:pt x="49224" y="19570"/>
                  <a:pt x="49102" y="19289"/>
                  <a:pt x="48975" y="19011"/>
                </a:cubicBezTo>
                <a:close/>
              </a:path>
            </a:pathLst>
          </a:custGeom>
          <a:solidFill>
            <a:srgbClr val="046A38"/>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61" name="Freeform: Shape 660">
            <a:extLst>
              <a:ext uri="{FF2B5EF4-FFF2-40B4-BE49-F238E27FC236}">
                <a16:creationId xmlns:a16="http://schemas.microsoft.com/office/drawing/2014/main" id="{ECDB0B24-0BCC-9CD1-CFA9-9A8C4F27F481}"/>
              </a:ext>
            </a:extLst>
          </p:cNvPr>
          <p:cNvSpPr/>
          <p:nvPr/>
        </p:nvSpPr>
        <p:spPr>
          <a:xfrm rot="5400000">
            <a:off x="4543561" y="2514047"/>
            <a:ext cx="23848" cy="26884"/>
          </a:xfrm>
          <a:custGeom>
            <a:avLst/>
            <a:gdLst>
              <a:gd name="connsiteX0" fmla="*/ 49182 w 47749"/>
              <a:gd name="connsiteY0" fmla="*/ 27244 h 50402"/>
              <a:gd name="connsiteX1" fmla="*/ 49182 w 47749"/>
              <a:gd name="connsiteY1" fmla="*/ 24591 h 50402"/>
              <a:gd name="connsiteX2" fmla="*/ 24591 w 47749"/>
              <a:gd name="connsiteY2" fmla="*/ 0 h 50402"/>
              <a:gd name="connsiteX3" fmla="*/ 0 w 47749"/>
              <a:gd name="connsiteY3" fmla="*/ 24591 h 50402"/>
              <a:gd name="connsiteX4" fmla="*/ 0 w 47749"/>
              <a:gd name="connsiteY4" fmla="*/ 27244 h 50402"/>
              <a:gd name="connsiteX5" fmla="*/ 24591 w 47749"/>
              <a:gd name="connsiteY5" fmla="*/ 51835 h 50402"/>
              <a:gd name="connsiteX6" fmla="*/ 49182 w 47749"/>
              <a:gd name="connsiteY6" fmla="*/ 27244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49" h="50402">
                <a:moveTo>
                  <a:pt x="49182" y="27244"/>
                </a:moveTo>
                <a:lnTo>
                  <a:pt x="49182" y="24591"/>
                </a:lnTo>
                <a:cubicBezTo>
                  <a:pt x="49182" y="11010"/>
                  <a:pt x="38172" y="0"/>
                  <a:pt x="24591" y="0"/>
                </a:cubicBezTo>
                <a:cubicBezTo>
                  <a:pt x="11010" y="0"/>
                  <a:pt x="0" y="11010"/>
                  <a:pt x="0" y="24591"/>
                </a:cubicBezTo>
                <a:lnTo>
                  <a:pt x="0" y="27244"/>
                </a:lnTo>
                <a:cubicBezTo>
                  <a:pt x="0" y="40825"/>
                  <a:pt x="11010" y="51835"/>
                  <a:pt x="24591" y="51835"/>
                </a:cubicBezTo>
                <a:cubicBezTo>
                  <a:pt x="38172" y="51835"/>
                  <a:pt x="49182" y="40825"/>
                  <a:pt x="49182" y="27244"/>
                </a:cubicBezTo>
                <a:close/>
              </a:path>
            </a:pathLst>
          </a:custGeom>
          <a:solidFill>
            <a:srgbClr val="046A38"/>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62" name="Freeform: Shape 661">
            <a:extLst>
              <a:ext uri="{FF2B5EF4-FFF2-40B4-BE49-F238E27FC236}">
                <a16:creationId xmlns:a16="http://schemas.microsoft.com/office/drawing/2014/main" id="{6BA57981-3FE7-C0B3-91D0-E3AFDCBB8D7D}"/>
              </a:ext>
            </a:extLst>
          </p:cNvPr>
          <p:cNvSpPr/>
          <p:nvPr/>
        </p:nvSpPr>
        <p:spPr>
          <a:xfrm rot="5400000">
            <a:off x="4834990" y="3551050"/>
            <a:ext cx="43720" cy="46691"/>
          </a:xfrm>
          <a:custGeom>
            <a:avLst/>
            <a:gdLst>
              <a:gd name="connsiteX0" fmla="*/ 58322 w 87540"/>
              <a:gd name="connsiteY0" fmla="*/ 13477 h 87540"/>
              <a:gd name="connsiteX1" fmla="*/ 76213 w 87540"/>
              <a:gd name="connsiteY1" fmla="*/ 58322 h 87540"/>
              <a:gd name="connsiteX2" fmla="*/ 31368 w 87540"/>
              <a:gd name="connsiteY2" fmla="*/ 76213 h 87540"/>
              <a:gd name="connsiteX3" fmla="*/ 13477 w 87540"/>
              <a:gd name="connsiteY3" fmla="*/ 31368 h 87540"/>
              <a:gd name="connsiteX4" fmla="*/ 58322 w 87540"/>
              <a:gd name="connsiteY4" fmla="*/ 13477 h 875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540" h="87540">
                <a:moveTo>
                  <a:pt x="58322" y="13477"/>
                </a:moveTo>
                <a:cubicBezTo>
                  <a:pt x="75646" y="20920"/>
                  <a:pt x="83656" y="40998"/>
                  <a:pt x="76213" y="58322"/>
                </a:cubicBezTo>
                <a:cubicBezTo>
                  <a:pt x="68770" y="75646"/>
                  <a:pt x="48692" y="83656"/>
                  <a:pt x="31368" y="76213"/>
                </a:cubicBezTo>
                <a:cubicBezTo>
                  <a:pt x="14044" y="68770"/>
                  <a:pt x="6034" y="48692"/>
                  <a:pt x="13477" y="31368"/>
                </a:cubicBezTo>
                <a:cubicBezTo>
                  <a:pt x="20920" y="14044"/>
                  <a:pt x="40998" y="6034"/>
                  <a:pt x="58322" y="13477"/>
                </a:cubicBezTo>
                <a:close/>
              </a:path>
            </a:pathLst>
          </a:custGeom>
          <a:solidFill>
            <a:srgbClr val="046A38"/>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63" name="Freeform: Shape 662">
            <a:extLst>
              <a:ext uri="{FF2B5EF4-FFF2-40B4-BE49-F238E27FC236}">
                <a16:creationId xmlns:a16="http://schemas.microsoft.com/office/drawing/2014/main" id="{1C6D1114-8D07-F318-9CA0-B4888826A41B}"/>
              </a:ext>
            </a:extLst>
          </p:cNvPr>
          <p:cNvSpPr/>
          <p:nvPr/>
        </p:nvSpPr>
        <p:spPr>
          <a:xfrm rot="5400000">
            <a:off x="4238783" y="2566149"/>
            <a:ext cx="1236091" cy="1138989"/>
          </a:xfrm>
          <a:custGeom>
            <a:avLst/>
            <a:gdLst>
              <a:gd name="connsiteX0" fmla="*/ 2456532 w 2475007"/>
              <a:gd name="connsiteY0" fmla="*/ 1048178 h 2135457"/>
              <a:gd name="connsiteX1" fmla="*/ 2210410 w 2475007"/>
              <a:gd name="connsiteY1" fmla="*/ 1048178 h 2135457"/>
              <a:gd name="connsiteX2" fmla="*/ 2137513 w 2475007"/>
              <a:gd name="connsiteY2" fmla="*/ 975281 h 2135457"/>
              <a:gd name="connsiteX3" fmla="*/ 2137513 w 2475007"/>
              <a:gd name="connsiteY3" fmla="*/ 456033 h 2135457"/>
              <a:gd name="connsiteX4" fmla="*/ 1822261 w 2475007"/>
              <a:gd name="connsiteY4" fmla="*/ 22177 h 2135457"/>
              <a:gd name="connsiteX5" fmla="*/ 1822023 w 2475007"/>
              <a:gd name="connsiteY5" fmla="*/ 22177 h 2135457"/>
              <a:gd name="connsiteX6" fmla="*/ 1681427 w 2475007"/>
              <a:gd name="connsiteY6" fmla="*/ 0 h 2135457"/>
              <a:gd name="connsiteX7" fmla="*/ 456126 w 2475007"/>
              <a:gd name="connsiteY7" fmla="*/ 0 h 2135457"/>
              <a:gd name="connsiteX8" fmla="*/ 316910 w 2475007"/>
              <a:gd name="connsiteY8" fmla="*/ 21647 h 2135457"/>
              <a:gd name="connsiteX9" fmla="*/ 316910 w 2475007"/>
              <a:gd name="connsiteY9" fmla="*/ 21647 h 2135457"/>
              <a:gd name="connsiteX10" fmla="*/ 89597 w 2475007"/>
              <a:gd name="connsiteY10" fmla="*/ 184790 h 2135457"/>
              <a:gd name="connsiteX11" fmla="*/ 14 w 2475007"/>
              <a:gd name="connsiteY11" fmla="*/ 456033 h 2135457"/>
              <a:gd name="connsiteX12" fmla="*/ 14 w 2475007"/>
              <a:gd name="connsiteY12" fmla="*/ 1408951 h 2135457"/>
              <a:gd name="connsiteX13" fmla="*/ 19769 w 2475007"/>
              <a:gd name="connsiteY13" fmla="*/ 1430181 h 2135457"/>
              <a:gd name="connsiteX14" fmla="*/ 40998 w 2475007"/>
              <a:gd name="connsiteY14" fmla="*/ 1410426 h 2135457"/>
              <a:gd name="connsiteX15" fmla="*/ 40998 w 2475007"/>
              <a:gd name="connsiteY15" fmla="*/ 1408951 h 2135457"/>
              <a:gd name="connsiteX16" fmla="*/ 40998 w 2475007"/>
              <a:gd name="connsiteY16" fmla="*/ 456033 h 2135457"/>
              <a:gd name="connsiteX17" fmla="*/ 329484 w 2475007"/>
              <a:gd name="connsiteY17" fmla="*/ 60775 h 2135457"/>
              <a:gd name="connsiteX18" fmla="*/ 329484 w 2475007"/>
              <a:gd name="connsiteY18" fmla="*/ 60775 h 2135457"/>
              <a:gd name="connsiteX19" fmla="*/ 456126 w 2475007"/>
              <a:gd name="connsiteY19" fmla="*/ 40932 h 2135457"/>
              <a:gd name="connsiteX20" fmla="*/ 1681427 w 2475007"/>
              <a:gd name="connsiteY20" fmla="*/ 40932 h 2135457"/>
              <a:gd name="connsiteX21" fmla="*/ 1809581 w 2475007"/>
              <a:gd name="connsiteY21" fmla="*/ 61173 h 2135457"/>
              <a:gd name="connsiteX22" fmla="*/ 1809581 w 2475007"/>
              <a:gd name="connsiteY22" fmla="*/ 61173 h 2135457"/>
              <a:gd name="connsiteX23" fmla="*/ 2096528 w 2475007"/>
              <a:gd name="connsiteY23" fmla="*/ 456033 h 2135457"/>
              <a:gd name="connsiteX24" fmla="*/ 2096528 w 2475007"/>
              <a:gd name="connsiteY24" fmla="*/ 975307 h 2135457"/>
              <a:gd name="connsiteX25" fmla="*/ 2023172 w 2475007"/>
              <a:gd name="connsiteY25" fmla="*/ 1088705 h 2135457"/>
              <a:gd name="connsiteX26" fmla="*/ 2096528 w 2475007"/>
              <a:gd name="connsiteY26" fmla="*/ 1162061 h 2135457"/>
              <a:gd name="connsiteX27" fmla="*/ 2096528 w 2475007"/>
              <a:gd name="connsiteY27" fmla="*/ 1681335 h 2135457"/>
              <a:gd name="connsiteX28" fmla="*/ 1681427 w 2475007"/>
              <a:gd name="connsiteY28" fmla="*/ 2096436 h 2135457"/>
              <a:gd name="connsiteX29" fmla="*/ 1068777 w 2475007"/>
              <a:gd name="connsiteY29" fmla="*/ 2096436 h 2135457"/>
              <a:gd name="connsiteX30" fmla="*/ 1047547 w 2475007"/>
              <a:gd name="connsiteY30" fmla="*/ 2116191 h 2135457"/>
              <a:gd name="connsiteX31" fmla="*/ 1067302 w 2475007"/>
              <a:gd name="connsiteY31" fmla="*/ 2137421 h 2135457"/>
              <a:gd name="connsiteX32" fmla="*/ 1068777 w 2475007"/>
              <a:gd name="connsiteY32" fmla="*/ 2137421 h 2135457"/>
              <a:gd name="connsiteX33" fmla="*/ 1681560 w 2475007"/>
              <a:gd name="connsiteY33" fmla="*/ 2137421 h 2135457"/>
              <a:gd name="connsiteX34" fmla="*/ 2137646 w 2475007"/>
              <a:gd name="connsiteY34" fmla="*/ 1681335 h 2135457"/>
              <a:gd name="connsiteX35" fmla="*/ 2137646 w 2475007"/>
              <a:gd name="connsiteY35" fmla="*/ 1162061 h 2135457"/>
              <a:gd name="connsiteX36" fmla="*/ 2210543 w 2475007"/>
              <a:gd name="connsiteY36" fmla="*/ 1089163 h 2135457"/>
              <a:gd name="connsiteX37" fmla="*/ 2456664 w 2475007"/>
              <a:gd name="connsiteY37" fmla="*/ 1089163 h 2135457"/>
              <a:gd name="connsiteX38" fmla="*/ 2476420 w 2475007"/>
              <a:gd name="connsiteY38" fmla="*/ 1067933 h 2135457"/>
              <a:gd name="connsiteX39" fmla="*/ 2456664 w 2475007"/>
              <a:gd name="connsiteY39" fmla="*/ 1048178 h 2135457"/>
              <a:gd name="connsiteX40" fmla="*/ 2117034 w 2475007"/>
              <a:gd name="connsiteY40" fmla="*/ 1123251 h 2135457"/>
              <a:gd name="connsiteX41" fmla="*/ 2062388 w 2475007"/>
              <a:gd name="connsiteY41" fmla="*/ 1068604 h 2135457"/>
              <a:gd name="connsiteX42" fmla="*/ 2117034 w 2475007"/>
              <a:gd name="connsiteY42" fmla="*/ 1013958 h 2135457"/>
              <a:gd name="connsiteX43" fmla="*/ 2171680 w 2475007"/>
              <a:gd name="connsiteY43" fmla="*/ 1068604 h 2135457"/>
              <a:gd name="connsiteX44" fmla="*/ 2117034 w 2475007"/>
              <a:gd name="connsiteY44" fmla="*/ 1123251 h 213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75007" h="2135457">
                <a:moveTo>
                  <a:pt x="2456532" y="1048178"/>
                </a:moveTo>
                <a:lnTo>
                  <a:pt x="2210410" y="1048178"/>
                </a:lnTo>
                <a:cubicBezTo>
                  <a:pt x="2202350" y="1011774"/>
                  <a:pt x="2173918" y="983342"/>
                  <a:pt x="2137513" y="975281"/>
                </a:cubicBezTo>
                <a:lnTo>
                  <a:pt x="2137513" y="456033"/>
                </a:lnTo>
                <a:cubicBezTo>
                  <a:pt x="2137314" y="258456"/>
                  <a:pt x="2010114" y="83401"/>
                  <a:pt x="1822261" y="22177"/>
                </a:cubicBezTo>
                <a:lnTo>
                  <a:pt x="1822023" y="22177"/>
                </a:lnTo>
                <a:cubicBezTo>
                  <a:pt x="1776611" y="7455"/>
                  <a:pt x="1729166" y="-29"/>
                  <a:pt x="1681427" y="0"/>
                </a:cubicBezTo>
                <a:lnTo>
                  <a:pt x="456126" y="0"/>
                </a:lnTo>
                <a:cubicBezTo>
                  <a:pt x="408878" y="-64"/>
                  <a:pt x="361908" y="7239"/>
                  <a:pt x="316910" y="21647"/>
                </a:cubicBezTo>
                <a:lnTo>
                  <a:pt x="316910" y="21647"/>
                </a:lnTo>
                <a:cubicBezTo>
                  <a:pt x="226066" y="51163"/>
                  <a:pt x="146635" y="108171"/>
                  <a:pt x="89597" y="184790"/>
                </a:cubicBezTo>
                <a:cubicBezTo>
                  <a:pt x="31203" y="263145"/>
                  <a:pt x="-228" y="358313"/>
                  <a:pt x="14" y="456033"/>
                </a:cubicBezTo>
                <a:lnTo>
                  <a:pt x="14" y="1408951"/>
                </a:lnTo>
                <a:cubicBezTo>
                  <a:pt x="-394" y="1420269"/>
                  <a:pt x="8451" y="1429774"/>
                  <a:pt x="19769" y="1430181"/>
                </a:cubicBezTo>
                <a:cubicBezTo>
                  <a:pt x="31086" y="1430588"/>
                  <a:pt x="40591" y="1421744"/>
                  <a:pt x="40998" y="1410426"/>
                </a:cubicBezTo>
                <a:cubicBezTo>
                  <a:pt x="41016" y="1409935"/>
                  <a:pt x="41016" y="1409443"/>
                  <a:pt x="40998" y="1408951"/>
                </a:cubicBezTo>
                <a:lnTo>
                  <a:pt x="40998" y="456033"/>
                </a:lnTo>
                <a:cubicBezTo>
                  <a:pt x="40695" y="275474"/>
                  <a:pt x="157428" y="115536"/>
                  <a:pt x="329484" y="60775"/>
                </a:cubicBezTo>
                <a:lnTo>
                  <a:pt x="329484" y="60775"/>
                </a:lnTo>
                <a:cubicBezTo>
                  <a:pt x="370410" y="47618"/>
                  <a:pt x="413137" y="40923"/>
                  <a:pt x="456126" y="40932"/>
                </a:cubicBezTo>
                <a:lnTo>
                  <a:pt x="1681427" y="40932"/>
                </a:lnTo>
                <a:cubicBezTo>
                  <a:pt x="1724944" y="40899"/>
                  <a:pt x="1768193" y="47730"/>
                  <a:pt x="1809581" y="61173"/>
                </a:cubicBezTo>
                <a:lnTo>
                  <a:pt x="1809581" y="61173"/>
                </a:lnTo>
                <a:cubicBezTo>
                  <a:pt x="1980841" y="116497"/>
                  <a:pt x="2096796" y="276059"/>
                  <a:pt x="2096528" y="456033"/>
                </a:cubicBezTo>
                <a:lnTo>
                  <a:pt x="2096528" y="975307"/>
                </a:lnTo>
                <a:cubicBezTo>
                  <a:pt x="2044958" y="986365"/>
                  <a:pt x="2012115" y="1037134"/>
                  <a:pt x="2023172" y="1088705"/>
                </a:cubicBezTo>
                <a:cubicBezTo>
                  <a:pt x="2031054" y="1125464"/>
                  <a:pt x="2059769" y="1154179"/>
                  <a:pt x="2096528" y="1162061"/>
                </a:cubicBezTo>
                <a:lnTo>
                  <a:pt x="2096528" y="1681335"/>
                </a:lnTo>
                <a:cubicBezTo>
                  <a:pt x="2096528" y="1910240"/>
                  <a:pt x="1910332" y="2096436"/>
                  <a:pt x="1681427" y="2096436"/>
                </a:cubicBezTo>
                <a:lnTo>
                  <a:pt x="1068777" y="2096436"/>
                </a:lnTo>
                <a:cubicBezTo>
                  <a:pt x="1057459" y="2096028"/>
                  <a:pt x="1047954" y="2104873"/>
                  <a:pt x="1047547" y="2116191"/>
                </a:cubicBezTo>
                <a:cubicBezTo>
                  <a:pt x="1047139" y="2127508"/>
                  <a:pt x="1055984" y="2137013"/>
                  <a:pt x="1067302" y="2137421"/>
                </a:cubicBezTo>
                <a:cubicBezTo>
                  <a:pt x="1067793" y="2137438"/>
                  <a:pt x="1068285" y="2137438"/>
                  <a:pt x="1068777" y="2137421"/>
                </a:cubicBezTo>
                <a:lnTo>
                  <a:pt x="1681560" y="2137421"/>
                </a:lnTo>
                <a:cubicBezTo>
                  <a:pt x="1933066" y="2137421"/>
                  <a:pt x="2137646" y="1932841"/>
                  <a:pt x="2137646" y="1681335"/>
                </a:cubicBezTo>
                <a:lnTo>
                  <a:pt x="2137646" y="1162061"/>
                </a:lnTo>
                <a:cubicBezTo>
                  <a:pt x="2174054" y="1154006"/>
                  <a:pt x="2202488" y="1125571"/>
                  <a:pt x="2210543" y="1089163"/>
                </a:cubicBezTo>
                <a:lnTo>
                  <a:pt x="2456664" y="1089163"/>
                </a:lnTo>
                <a:cubicBezTo>
                  <a:pt x="2467982" y="1088756"/>
                  <a:pt x="2476827" y="1079251"/>
                  <a:pt x="2476420" y="1067933"/>
                </a:cubicBezTo>
                <a:cubicBezTo>
                  <a:pt x="2476033" y="1057187"/>
                  <a:pt x="2467411" y="1048565"/>
                  <a:pt x="2456664" y="1048178"/>
                </a:cubicBezTo>
                <a:close/>
                <a:moveTo>
                  <a:pt x="2117034" y="1123251"/>
                </a:moveTo>
                <a:cubicBezTo>
                  <a:pt x="2086854" y="1123251"/>
                  <a:pt x="2062388" y="1098785"/>
                  <a:pt x="2062388" y="1068604"/>
                </a:cubicBezTo>
                <a:cubicBezTo>
                  <a:pt x="2062388" y="1038424"/>
                  <a:pt x="2086854" y="1013958"/>
                  <a:pt x="2117034" y="1013958"/>
                </a:cubicBezTo>
                <a:cubicBezTo>
                  <a:pt x="2147215" y="1013958"/>
                  <a:pt x="2171680" y="1038424"/>
                  <a:pt x="2171680" y="1068604"/>
                </a:cubicBezTo>
                <a:cubicBezTo>
                  <a:pt x="2171651" y="1098773"/>
                  <a:pt x="2147202" y="1123222"/>
                  <a:pt x="2117034" y="1123251"/>
                </a:cubicBezTo>
                <a:close/>
              </a:path>
            </a:pathLst>
          </a:custGeom>
          <a:solidFill>
            <a:srgbClr val="046A38"/>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64" name="Rectangle: Rounded Corners 663">
            <a:extLst>
              <a:ext uri="{FF2B5EF4-FFF2-40B4-BE49-F238E27FC236}">
                <a16:creationId xmlns:a16="http://schemas.microsoft.com/office/drawing/2014/main" id="{84A9717E-C714-9AA6-4FB6-CF6089C87126}"/>
              </a:ext>
            </a:extLst>
          </p:cNvPr>
          <p:cNvSpPr/>
          <p:nvPr/>
        </p:nvSpPr>
        <p:spPr>
          <a:xfrm rot="5400000">
            <a:off x="4401471" y="2565136"/>
            <a:ext cx="910177" cy="972033"/>
          </a:xfrm>
          <a:prstGeom prst="roundRect">
            <a:avLst/>
          </a:prstGeom>
          <a:solidFill>
            <a:srgbClr val="F7F7F7"/>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65" name="Freeform: Shape 664">
            <a:extLst>
              <a:ext uri="{FF2B5EF4-FFF2-40B4-BE49-F238E27FC236}">
                <a16:creationId xmlns:a16="http://schemas.microsoft.com/office/drawing/2014/main" id="{70C7A18B-F42E-56AE-485F-93C56DDD257C}"/>
              </a:ext>
            </a:extLst>
          </p:cNvPr>
          <p:cNvSpPr/>
          <p:nvPr/>
        </p:nvSpPr>
        <p:spPr>
          <a:xfrm rot="5400000">
            <a:off x="5010872" y="3768184"/>
            <a:ext cx="23848" cy="26884"/>
          </a:xfrm>
          <a:custGeom>
            <a:avLst/>
            <a:gdLst>
              <a:gd name="connsiteX0" fmla="*/ 24591 w 47749"/>
              <a:gd name="connsiteY0" fmla="*/ 51835 h 50402"/>
              <a:gd name="connsiteX1" fmla="*/ 49182 w 47749"/>
              <a:gd name="connsiteY1" fmla="*/ 27244 h 50402"/>
              <a:gd name="connsiteX2" fmla="*/ 49182 w 47749"/>
              <a:gd name="connsiteY2" fmla="*/ 24591 h 50402"/>
              <a:gd name="connsiteX3" fmla="*/ 24591 w 47749"/>
              <a:gd name="connsiteY3" fmla="*/ 0 h 50402"/>
              <a:gd name="connsiteX4" fmla="*/ 0 w 47749"/>
              <a:gd name="connsiteY4" fmla="*/ 24591 h 50402"/>
              <a:gd name="connsiteX5" fmla="*/ 0 w 47749"/>
              <a:gd name="connsiteY5" fmla="*/ 27244 h 50402"/>
              <a:gd name="connsiteX6" fmla="*/ 24591 w 47749"/>
              <a:gd name="connsiteY6" fmla="*/ 51835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49" h="50402">
                <a:moveTo>
                  <a:pt x="24591" y="51835"/>
                </a:moveTo>
                <a:cubicBezTo>
                  <a:pt x="38172" y="51835"/>
                  <a:pt x="49182" y="40825"/>
                  <a:pt x="49182" y="27244"/>
                </a:cubicBezTo>
                <a:lnTo>
                  <a:pt x="49182" y="24591"/>
                </a:lnTo>
                <a:cubicBezTo>
                  <a:pt x="49182" y="11010"/>
                  <a:pt x="38172" y="0"/>
                  <a:pt x="24591" y="0"/>
                </a:cubicBezTo>
                <a:cubicBezTo>
                  <a:pt x="11010" y="0"/>
                  <a:pt x="0" y="11010"/>
                  <a:pt x="0" y="24591"/>
                </a:cubicBezTo>
                <a:lnTo>
                  <a:pt x="0" y="27244"/>
                </a:lnTo>
                <a:cubicBezTo>
                  <a:pt x="0" y="40825"/>
                  <a:pt x="11010" y="51835"/>
                  <a:pt x="24591" y="51835"/>
                </a:cubicBezTo>
                <a:close/>
              </a:path>
            </a:pathLst>
          </a:custGeom>
          <a:solidFill>
            <a:srgbClr val="0097A9"/>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66" name="Freeform: Shape 665">
            <a:extLst>
              <a:ext uri="{FF2B5EF4-FFF2-40B4-BE49-F238E27FC236}">
                <a16:creationId xmlns:a16="http://schemas.microsoft.com/office/drawing/2014/main" id="{F2BB9ABD-3356-2238-10A9-A308F6DA6A98}"/>
              </a:ext>
            </a:extLst>
          </p:cNvPr>
          <p:cNvSpPr/>
          <p:nvPr/>
        </p:nvSpPr>
        <p:spPr>
          <a:xfrm rot="5400000">
            <a:off x="5259374" y="3784027"/>
            <a:ext cx="23848" cy="26884"/>
          </a:xfrm>
          <a:custGeom>
            <a:avLst/>
            <a:gdLst>
              <a:gd name="connsiteX0" fmla="*/ 15363 w 47749"/>
              <a:gd name="connsiteY0" fmla="*/ 50118 h 50402"/>
              <a:gd name="connsiteX1" fmla="*/ 24595 w 47749"/>
              <a:gd name="connsiteY1" fmla="*/ 51948 h 50402"/>
              <a:gd name="connsiteX2" fmla="*/ 47408 w 47749"/>
              <a:gd name="connsiteY2" fmla="*/ 36589 h 50402"/>
              <a:gd name="connsiteX3" fmla="*/ 48363 w 47749"/>
              <a:gd name="connsiteY3" fmla="*/ 34201 h 50402"/>
              <a:gd name="connsiteX4" fmla="*/ 35329 w 47749"/>
              <a:gd name="connsiteY4" fmla="*/ 1959 h 50402"/>
              <a:gd name="connsiteX5" fmla="*/ 3087 w 47749"/>
              <a:gd name="connsiteY5" fmla="*/ 14993 h 50402"/>
              <a:gd name="connsiteX6" fmla="*/ 2922 w 47749"/>
              <a:gd name="connsiteY6" fmla="*/ 15393 h 50402"/>
              <a:gd name="connsiteX7" fmla="*/ 1834 w 47749"/>
              <a:gd name="connsiteY7" fmla="*/ 18046 h 50402"/>
              <a:gd name="connsiteX8" fmla="*/ 15273 w 47749"/>
              <a:gd name="connsiteY8" fmla="*/ 50081 h 50402"/>
              <a:gd name="connsiteX9" fmla="*/ 15363 w 47749"/>
              <a:gd name="connsiteY9" fmla="*/ 50118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749" h="50402">
                <a:moveTo>
                  <a:pt x="15363" y="50118"/>
                </a:moveTo>
                <a:cubicBezTo>
                  <a:pt x="18291" y="51327"/>
                  <a:pt x="21427" y="51949"/>
                  <a:pt x="24595" y="51948"/>
                </a:cubicBezTo>
                <a:cubicBezTo>
                  <a:pt x="34615" y="51942"/>
                  <a:pt x="43633" y="45870"/>
                  <a:pt x="47408" y="36589"/>
                </a:cubicBezTo>
                <a:lnTo>
                  <a:pt x="48363" y="34201"/>
                </a:lnTo>
                <a:cubicBezTo>
                  <a:pt x="53667" y="21698"/>
                  <a:pt x="47832" y="7263"/>
                  <a:pt x="35329" y="1959"/>
                </a:cubicBezTo>
                <a:cubicBezTo>
                  <a:pt x="22827" y="-3345"/>
                  <a:pt x="8391" y="2491"/>
                  <a:pt x="3087" y="14993"/>
                </a:cubicBezTo>
                <a:cubicBezTo>
                  <a:pt x="3031" y="15126"/>
                  <a:pt x="2976" y="15259"/>
                  <a:pt x="2922" y="15393"/>
                </a:cubicBezTo>
                <a:lnTo>
                  <a:pt x="1834" y="18046"/>
                </a:lnTo>
                <a:cubicBezTo>
                  <a:pt x="-3301" y="30603"/>
                  <a:pt x="2716" y="44945"/>
                  <a:pt x="15273" y="50081"/>
                </a:cubicBezTo>
                <a:cubicBezTo>
                  <a:pt x="15303" y="50093"/>
                  <a:pt x="15333" y="50105"/>
                  <a:pt x="15363" y="50118"/>
                </a:cubicBezTo>
                <a:close/>
              </a:path>
            </a:pathLst>
          </a:custGeom>
          <a:solidFill>
            <a:srgbClr val="0097A9"/>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67" name="Freeform: Shape 666">
            <a:extLst>
              <a:ext uri="{FF2B5EF4-FFF2-40B4-BE49-F238E27FC236}">
                <a16:creationId xmlns:a16="http://schemas.microsoft.com/office/drawing/2014/main" id="{536DDC30-2921-EF7A-CBFA-EF58CE7A4A0D}"/>
              </a:ext>
            </a:extLst>
          </p:cNvPr>
          <p:cNvSpPr/>
          <p:nvPr/>
        </p:nvSpPr>
        <p:spPr>
          <a:xfrm rot="5400000">
            <a:off x="5356344" y="3855273"/>
            <a:ext cx="25173" cy="26884"/>
          </a:xfrm>
          <a:custGeom>
            <a:avLst/>
            <a:gdLst>
              <a:gd name="connsiteX0" fmla="*/ 24628 w 50402"/>
              <a:gd name="connsiteY0" fmla="*/ 50841 h 50402"/>
              <a:gd name="connsiteX1" fmla="*/ 39457 w 50402"/>
              <a:gd name="connsiteY1" fmla="*/ 45828 h 50402"/>
              <a:gd name="connsiteX2" fmla="*/ 41499 w 50402"/>
              <a:gd name="connsiteY2" fmla="*/ 44289 h 50402"/>
              <a:gd name="connsiteX3" fmla="*/ 46473 w 50402"/>
              <a:gd name="connsiteY3" fmla="*/ 9870 h 50402"/>
              <a:gd name="connsiteX4" fmla="*/ 12054 w 50402"/>
              <a:gd name="connsiteY4" fmla="*/ 4896 h 50402"/>
              <a:gd name="connsiteX5" fmla="*/ 9746 w 50402"/>
              <a:gd name="connsiteY5" fmla="*/ 6647 h 50402"/>
              <a:gd name="connsiteX6" fmla="*/ 4989 w 50402"/>
              <a:gd name="connsiteY6" fmla="*/ 41096 h 50402"/>
              <a:gd name="connsiteX7" fmla="*/ 24628 w 50402"/>
              <a:gd name="connsiteY7" fmla="*/ 50841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02" h="50402">
                <a:moveTo>
                  <a:pt x="24628" y="50841"/>
                </a:moveTo>
                <a:cubicBezTo>
                  <a:pt x="29987" y="50840"/>
                  <a:pt x="35197" y="49078"/>
                  <a:pt x="39457" y="45828"/>
                </a:cubicBezTo>
                <a:lnTo>
                  <a:pt x="41499" y="44289"/>
                </a:lnTo>
                <a:cubicBezTo>
                  <a:pt x="52378" y="36158"/>
                  <a:pt x="54605" y="20748"/>
                  <a:pt x="46473" y="9870"/>
                </a:cubicBezTo>
                <a:cubicBezTo>
                  <a:pt x="38342" y="-1008"/>
                  <a:pt x="22932" y="-3235"/>
                  <a:pt x="12054" y="4896"/>
                </a:cubicBezTo>
                <a:lnTo>
                  <a:pt x="9746" y="6647"/>
                </a:lnTo>
                <a:cubicBezTo>
                  <a:pt x="-1081" y="14846"/>
                  <a:pt x="-3211" y="30270"/>
                  <a:pt x="4989" y="41096"/>
                </a:cubicBezTo>
                <a:cubicBezTo>
                  <a:pt x="9645" y="47245"/>
                  <a:pt x="16916" y="50853"/>
                  <a:pt x="24628" y="50841"/>
                </a:cubicBezTo>
                <a:close/>
              </a:path>
            </a:pathLst>
          </a:custGeom>
          <a:solidFill>
            <a:srgbClr val="0097A9"/>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68" name="Freeform: Shape 667">
            <a:extLst>
              <a:ext uri="{FF2B5EF4-FFF2-40B4-BE49-F238E27FC236}">
                <a16:creationId xmlns:a16="http://schemas.microsoft.com/office/drawing/2014/main" id="{070A901E-442B-A1C6-1F7C-68E529D16E17}"/>
              </a:ext>
            </a:extLst>
          </p:cNvPr>
          <p:cNvSpPr/>
          <p:nvPr/>
        </p:nvSpPr>
        <p:spPr>
          <a:xfrm rot="5400000">
            <a:off x="5136190" y="3768184"/>
            <a:ext cx="23848" cy="26884"/>
          </a:xfrm>
          <a:custGeom>
            <a:avLst/>
            <a:gdLst>
              <a:gd name="connsiteX0" fmla="*/ 24591 w 47749"/>
              <a:gd name="connsiteY0" fmla="*/ 51808 h 50402"/>
              <a:gd name="connsiteX1" fmla="*/ 49182 w 47749"/>
              <a:gd name="connsiteY1" fmla="*/ 27270 h 50402"/>
              <a:gd name="connsiteX2" fmla="*/ 49182 w 47749"/>
              <a:gd name="connsiteY2" fmla="*/ 27244 h 50402"/>
              <a:gd name="connsiteX3" fmla="*/ 49182 w 47749"/>
              <a:gd name="connsiteY3" fmla="*/ 24591 h 50402"/>
              <a:gd name="connsiteX4" fmla="*/ 24591 w 47749"/>
              <a:gd name="connsiteY4" fmla="*/ 0 h 50402"/>
              <a:gd name="connsiteX5" fmla="*/ 0 w 47749"/>
              <a:gd name="connsiteY5" fmla="*/ 24591 h 50402"/>
              <a:gd name="connsiteX6" fmla="*/ 0 w 47749"/>
              <a:gd name="connsiteY6" fmla="*/ 27244 h 50402"/>
              <a:gd name="connsiteX7" fmla="*/ 24565 w 47749"/>
              <a:gd name="connsiteY7" fmla="*/ 51808 h 50402"/>
              <a:gd name="connsiteX8" fmla="*/ 24591 w 47749"/>
              <a:gd name="connsiteY8" fmla="*/ 51808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749" h="50402">
                <a:moveTo>
                  <a:pt x="24591" y="51808"/>
                </a:moveTo>
                <a:cubicBezTo>
                  <a:pt x="38158" y="51823"/>
                  <a:pt x="49167" y="40837"/>
                  <a:pt x="49182" y="27270"/>
                </a:cubicBezTo>
                <a:cubicBezTo>
                  <a:pt x="49182" y="27261"/>
                  <a:pt x="49182" y="27252"/>
                  <a:pt x="49182" y="27244"/>
                </a:cubicBezTo>
                <a:lnTo>
                  <a:pt x="49182" y="24591"/>
                </a:lnTo>
                <a:cubicBezTo>
                  <a:pt x="49182" y="11010"/>
                  <a:pt x="38172" y="0"/>
                  <a:pt x="24591" y="0"/>
                </a:cubicBezTo>
                <a:cubicBezTo>
                  <a:pt x="11010" y="0"/>
                  <a:pt x="0" y="11010"/>
                  <a:pt x="0" y="24591"/>
                </a:cubicBezTo>
                <a:lnTo>
                  <a:pt x="0" y="27244"/>
                </a:lnTo>
                <a:cubicBezTo>
                  <a:pt x="0" y="40810"/>
                  <a:pt x="10998" y="51808"/>
                  <a:pt x="24565" y="51808"/>
                </a:cubicBezTo>
                <a:cubicBezTo>
                  <a:pt x="24573" y="51808"/>
                  <a:pt x="24582" y="51808"/>
                  <a:pt x="24591" y="51808"/>
                </a:cubicBezTo>
                <a:close/>
              </a:path>
            </a:pathLst>
          </a:custGeom>
          <a:solidFill>
            <a:srgbClr val="0097A9"/>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69" name="Freeform: Shape 668">
            <a:extLst>
              <a:ext uri="{FF2B5EF4-FFF2-40B4-BE49-F238E27FC236}">
                <a16:creationId xmlns:a16="http://schemas.microsoft.com/office/drawing/2014/main" id="{2BA14092-2B39-EB31-10A9-0C45DF4D74B3}"/>
              </a:ext>
            </a:extLst>
          </p:cNvPr>
          <p:cNvSpPr/>
          <p:nvPr/>
        </p:nvSpPr>
        <p:spPr>
          <a:xfrm rot="5400000">
            <a:off x="4735393" y="3768184"/>
            <a:ext cx="23848" cy="26884"/>
          </a:xfrm>
          <a:custGeom>
            <a:avLst/>
            <a:gdLst>
              <a:gd name="connsiteX0" fmla="*/ 24591 w 47749"/>
              <a:gd name="connsiteY0" fmla="*/ 51835 h 50402"/>
              <a:gd name="connsiteX1" fmla="*/ 49182 w 47749"/>
              <a:gd name="connsiteY1" fmla="*/ 27244 h 50402"/>
              <a:gd name="connsiteX2" fmla="*/ 49182 w 47749"/>
              <a:gd name="connsiteY2" fmla="*/ 24591 h 50402"/>
              <a:gd name="connsiteX3" fmla="*/ 24591 w 47749"/>
              <a:gd name="connsiteY3" fmla="*/ 0 h 50402"/>
              <a:gd name="connsiteX4" fmla="*/ 0 w 47749"/>
              <a:gd name="connsiteY4" fmla="*/ 24591 h 50402"/>
              <a:gd name="connsiteX5" fmla="*/ 0 w 47749"/>
              <a:gd name="connsiteY5" fmla="*/ 27244 h 50402"/>
              <a:gd name="connsiteX6" fmla="*/ 24591 w 47749"/>
              <a:gd name="connsiteY6" fmla="*/ 51835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49" h="50402">
                <a:moveTo>
                  <a:pt x="24591" y="51835"/>
                </a:moveTo>
                <a:cubicBezTo>
                  <a:pt x="38172" y="51835"/>
                  <a:pt x="49182" y="40825"/>
                  <a:pt x="49182" y="27244"/>
                </a:cubicBezTo>
                <a:lnTo>
                  <a:pt x="49182" y="24591"/>
                </a:lnTo>
                <a:cubicBezTo>
                  <a:pt x="49182" y="11010"/>
                  <a:pt x="38172" y="0"/>
                  <a:pt x="24591" y="0"/>
                </a:cubicBezTo>
                <a:cubicBezTo>
                  <a:pt x="11010" y="0"/>
                  <a:pt x="0" y="11010"/>
                  <a:pt x="0" y="24591"/>
                </a:cubicBezTo>
                <a:lnTo>
                  <a:pt x="0" y="27244"/>
                </a:lnTo>
                <a:cubicBezTo>
                  <a:pt x="0" y="40825"/>
                  <a:pt x="11010" y="51835"/>
                  <a:pt x="24591" y="51835"/>
                </a:cubicBezTo>
                <a:close/>
              </a:path>
            </a:pathLst>
          </a:custGeom>
          <a:solidFill>
            <a:srgbClr val="0097A9"/>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70" name="Freeform: Shape 669">
            <a:extLst>
              <a:ext uri="{FF2B5EF4-FFF2-40B4-BE49-F238E27FC236}">
                <a16:creationId xmlns:a16="http://schemas.microsoft.com/office/drawing/2014/main" id="{89B79EEA-CBC0-1630-72E2-CE4EA9F73FE2}"/>
              </a:ext>
            </a:extLst>
          </p:cNvPr>
          <p:cNvSpPr/>
          <p:nvPr/>
        </p:nvSpPr>
        <p:spPr>
          <a:xfrm rot="5400000">
            <a:off x="4809924" y="3731156"/>
            <a:ext cx="94065" cy="100459"/>
          </a:xfrm>
          <a:custGeom>
            <a:avLst/>
            <a:gdLst>
              <a:gd name="connsiteX0" fmla="*/ 190997 w 188344"/>
              <a:gd name="connsiteY0" fmla="*/ 95366 h 188344"/>
              <a:gd name="connsiteX1" fmla="*/ 95366 w 188344"/>
              <a:gd name="connsiteY1" fmla="*/ 0 h 188344"/>
              <a:gd name="connsiteX2" fmla="*/ 0 w 188344"/>
              <a:gd name="connsiteY2" fmla="*/ 95631 h 188344"/>
              <a:gd name="connsiteX3" fmla="*/ 95366 w 188344"/>
              <a:gd name="connsiteY3" fmla="*/ 190997 h 188344"/>
              <a:gd name="connsiteX4" fmla="*/ 190997 w 188344"/>
              <a:gd name="connsiteY4" fmla="*/ 95366 h 188344"/>
              <a:gd name="connsiteX5" fmla="*/ 40719 w 188344"/>
              <a:gd name="connsiteY5" fmla="*/ 95366 h 188344"/>
              <a:gd name="connsiteX6" fmla="*/ 95366 w 188344"/>
              <a:gd name="connsiteY6" fmla="*/ 40719 h 188344"/>
              <a:gd name="connsiteX7" fmla="*/ 150012 w 188344"/>
              <a:gd name="connsiteY7" fmla="*/ 95366 h 188344"/>
              <a:gd name="connsiteX8" fmla="*/ 95366 w 188344"/>
              <a:gd name="connsiteY8" fmla="*/ 150012 h 188344"/>
              <a:gd name="connsiteX9" fmla="*/ 40719 w 188344"/>
              <a:gd name="connsiteY9" fmla="*/ 95366 h 18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344" h="188344">
                <a:moveTo>
                  <a:pt x="190997" y="95366"/>
                </a:moveTo>
                <a:cubicBezTo>
                  <a:pt x="190924" y="42624"/>
                  <a:pt x="148108" y="-73"/>
                  <a:pt x="95366" y="0"/>
                </a:cubicBezTo>
                <a:cubicBezTo>
                  <a:pt x="42624" y="73"/>
                  <a:pt x="-73" y="42889"/>
                  <a:pt x="0" y="95631"/>
                </a:cubicBezTo>
                <a:cubicBezTo>
                  <a:pt x="73" y="148270"/>
                  <a:pt x="42727" y="190924"/>
                  <a:pt x="95366" y="190997"/>
                </a:cubicBezTo>
                <a:cubicBezTo>
                  <a:pt x="148158" y="190939"/>
                  <a:pt x="190939" y="148157"/>
                  <a:pt x="190997" y="95366"/>
                </a:cubicBezTo>
                <a:close/>
                <a:moveTo>
                  <a:pt x="40719" y="95366"/>
                </a:moveTo>
                <a:cubicBezTo>
                  <a:pt x="40719" y="65186"/>
                  <a:pt x="65186" y="40719"/>
                  <a:pt x="95366" y="40719"/>
                </a:cubicBezTo>
                <a:cubicBezTo>
                  <a:pt x="125546" y="40719"/>
                  <a:pt x="150012" y="65186"/>
                  <a:pt x="150012" y="95366"/>
                </a:cubicBezTo>
                <a:cubicBezTo>
                  <a:pt x="150012" y="125546"/>
                  <a:pt x="125546" y="150012"/>
                  <a:pt x="95366" y="150012"/>
                </a:cubicBezTo>
                <a:cubicBezTo>
                  <a:pt x="65198" y="149983"/>
                  <a:pt x="40749" y="125534"/>
                  <a:pt x="40719" y="95366"/>
                </a:cubicBezTo>
                <a:close/>
              </a:path>
            </a:pathLst>
          </a:custGeom>
          <a:solidFill>
            <a:srgbClr val="0097A9"/>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71" name="Freeform: Shape 670">
            <a:extLst>
              <a:ext uri="{FF2B5EF4-FFF2-40B4-BE49-F238E27FC236}">
                <a16:creationId xmlns:a16="http://schemas.microsoft.com/office/drawing/2014/main" id="{1B1F5F9E-3F3E-8FFD-E751-275EF627A9E1}"/>
              </a:ext>
            </a:extLst>
          </p:cNvPr>
          <p:cNvSpPr/>
          <p:nvPr/>
        </p:nvSpPr>
        <p:spPr>
          <a:xfrm rot="5400000">
            <a:off x="4840282" y="3763806"/>
            <a:ext cx="33121" cy="35372"/>
          </a:xfrm>
          <a:custGeom>
            <a:avLst/>
            <a:gdLst>
              <a:gd name="connsiteX0" fmla="*/ 68282 w 66318"/>
              <a:gd name="connsiteY0" fmla="*/ 34141 h 66318"/>
              <a:gd name="connsiteX1" fmla="*/ 34141 w 66318"/>
              <a:gd name="connsiteY1" fmla="*/ 68282 h 66318"/>
              <a:gd name="connsiteX2" fmla="*/ 0 w 66318"/>
              <a:gd name="connsiteY2" fmla="*/ 34141 h 66318"/>
              <a:gd name="connsiteX3" fmla="*/ 34141 w 66318"/>
              <a:gd name="connsiteY3" fmla="*/ 0 h 66318"/>
              <a:gd name="connsiteX4" fmla="*/ 68282 w 66318"/>
              <a:gd name="connsiteY4" fmla="*/ 34141 h 66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8" h="66318">
                <a:moveTo>
                  <a:pt x="68282" y="34141"/>
                </a:moveTo>
                <a:cubicBezTo>
                  <a:pt x="68282" y="52996"/>
                  <a:pt x="52996" y="68282"/>
                  <a:pt x="34141" y="68282"/>
                </a:cubicBezTo>
                <a:cubicBezTo>
                  <a:pt x="15285" y="68282"/>
                  <a:pt x="0" y="52996"/>
                  <a:pt x="0" y="34141"/>
                </a:cubicBezTo>
                <a:cubicBezTo>
                  <a:pt x="0" y="15285"/>
                  <a:pt x="15285" y="0"/>
                  <a:pt x="34141" y="0"/>
                </a:cubicBezTo>
                <a:cubicBezTo>
                  <a:pt x="52996" y="0"/>
                  <a:pt x="68282" y="15285"/>
                  <a:pt x="68282" y="34141"/>
                </a:cubicBezTo>
                <a:close/>
              </a:path>
            </a:pathLst>
          </a:custGeom>
          <a:solidFill>
            <a:srgbClr val="0097A9"/>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72" name="Freeform: Shape 671">
            <a:extLst>
              <a:ext uri="{FF2B5EF4-FFF2-40B4-BE49-F238E27FC236}">
                <a16:creationId xmlns:a16="http://schemas.microsoft.com/office/drawing/2014/main" id="{C81FA824-4291-7876-C076-AA1126BA9F9B}"/>
              </a:ext>
            </a:extLst>
          </p:cNvPr>
          <p:cNvSpPr/>
          <p:nvPr/>
        </p:nvSpPr>
        <p:spPr>
          <a:xfrm rot="5400000">
            <a:off x="4837601" y="4808190"/>
            <a:ext cx="38422" cy="41033"/>
          </a:xfrm>
          <a:custGeom>
            <a:avLst/>
            <a:gdLst>
              <a:gd name="connsiteX0" fmla="*/ 72870 w 76929"/>
              <a:gd name="connsiteY0" fmla="*/ 33700 h 76929"/>
              <a:gd name="connsiteX1" fmla="*/ 44640 w 76929"/>
              <a:gd name="connsiteY1" fmla="*/ 72870 h 76929"/>
              <a:gd name="connsiteX2" fmla="*/ 5470 w 76929"/>
              <a:gd name="connsiteY2" fmla="*/ 44640 h 76929"/>
              <a:gd name="connsiteX3" fmla="*/ 33700 w 76929"/>
              <a:gd name="connsiteY3" fmla="*/ 5470 h 76929"/>
              <a:gd name="connsiteX4" fmla="*/ 72870 w 76929"/>
              <a:gd name="connsiteY4" fmla="*/ 33700 h 769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929" h="76929">
                <a:moveTo>
                  <a:pt x="72870" y="33700"/>
                </a:moveTo>
                <a:cubicBezTo>
                  <a:pt x="75891" y="52312"/>
                  <a:pt x="63252" y="69848"/>
                  <a:pt x="44640" y="72870"/>
                </a:cubicBezTo>
                <a:cubicBezTo>
                  <a:pt x="26028" y="75891"/>
                  <a:pt x="8491" y="63252"/>
                  <a:pt x="5470" y="44640"/>
                </a:cubicBezTo>
                <a:cubicBezTo>
                  <a:pt x="2449" y="26028"/>
                  <a:pt x="15088" y="8491"/>
                  <a:pt x="33700" y="5470"/>
                </a:cubicBezTo>
                <a:cubicBezTo>
                  <a:pt x="52311" y="2449"/>
                  <a:pt x="69848" y="15088"/>
                  <a:pt x="72870" y="33700"/>
                </a:cubicBezTo>
                <a:close/>
              </a:path>
            </a:pathLst>
          </a:custGeom>
          <a:solidFill>
            <a:srgbClr val="0097A9"/>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73" name="Freeform: Shape 672">
            <a:extLst>
              <a:ext uri="{FF2B5EF4-FFF2-40B4-BE49-F238E27FC236}">
                <a16:creationId xmlns:a16="http://schemas.microsoft.com/office/drawing/2014/main" id="{97BC6086-A579-B0E1-C26E-2ECE6B1F4CC4}"/>
              </a:ext>
            </a:extLst>
          </p:cNvPr>
          <p:cNvSpPr/>
          <p:nvPr/>
        </p:nvSpPr>
        <p:spPr>
          <a:xfrm rot="5400000">
            <a:off x="4238120" y="3820969"/>
            <a:ext cx="1237416" cy="1138989"/>
          </a:xfrm>
          <a:custGeom>
            <a:avLst/>
            <a:gdLst>
              <a:gd name="connsiteX0" fmla="*/ 2456492 w 2477660"/>
              <a:gd name="connsiteY0" fmla="*/ 1048178 h 2135457"/>
              <a:gd name="connsiteX1" fmla="*/ 2210397 w 2477660"/>
              <a:gd name="connsiteY1" fmla="*/ 1048178 h 2135457"/>
              <a:gd name="connsiteX2" fmla="*/ 2137500 w 2477660"/>
              <a:gd name="connsiteY2" fmla="*/ 975281 h 2135457"/>
              <a:gd name="connsiteX3" fmla="*/ 2137500 w 2477660"/>
              <a:gd name="connsiteY3" fmla="*/ 456033 h 2135457"/>
              <a:gd name="connsiteX4" fmla="*/ 1822248 w 2477660"/>
              <a:gd name="connsiteY4" fmla="*/ 22177 h 2135457"/>
              <a:gd name="connsiteX5" fmla="*/ 1821983 w 2477660"/>
              <a:gd name="connsiteY5" fmla="*/ 22177 h 2135457"/>
              <a:gd name="connsiteX6" fmla="*/ 1681387 w 2477660"/>
              <a:gd name="connsiteY6" fmla="*/ 0 h 2135457"/>
              <a:gd name="connsiteX7" fmla="*/ 456086 w 2477660"/>
              <a:gd name="connsiteY7" fmla="*/ 0 h 2135457"/>
              <a:gd name="connsiteX8" fmla="*/ 316923 w 2477660"/>
              <a:gd name="connsiteY8" fmla="*/ 21726 h 2135457"/>
              <a:gd name="connsiteX9" fmla="*/ 303673 w 2477660"/>
              <a:gd name="connsiteY9" fmla="*/ 47497 h 2135457"/>
              <a:gd name="connsiteX10" fmla="*/ 329444 w 2477660"/>
              <a:gd name="connsiteY10" fmla="*/ 60748 h 2135457"/>
              <a:gd name="connsiteX11" fmla="*/ 456086 w 2477660"/>
              <a:gd name="connsiteY11" fmla="*/ 40932 h 2135457"/>
              <a:gd name="connsiteX12" fmla="*/ 1681387 w 2477660"/>
              <a:gd name="connsiteY12" fmla="*/ 40932 h 2135457"/>
              <a:gd name="connsiteX13" fmla="*/ 1809541 w 2477660"/>
              <a:gd name="connsiteY13" fmla="*/ 61172 h 2135457"/>
              <a:gd name="connsiteX14" fmla="*/ 1809541 w 2477660"/>
              <a:gd name="connsiteY14" fmla="*/ 61172 h 2135457"/>
              <a:gd name="connsiteX15" fmla="*/ 2096382 w 2477660"/>
              <a:gd name="connsiteY15" fmla="*/ 456033 h 2135457"/>
              <a:gd name="connsiteX16" fmla="*/ 2096382 w 2477660"/>
              <a:gd name="connsiteY16" fmla="*/ 975307 h 2135457"/>
              <a:gd name="connsiteX17" fmla="*/ 2023026 w 2477660"/>
              <a:gd name="connsiteY17" fmla="*/ 1088704 h 2135457"/>
              <a:gd name="connsiteX18" fmla="*/ 2096382 w 2477660"/>
              <a:gd name="connsiteY18" fmla="*/ 1162060 h 2135457"/>
              <a:gd name="connsiteX19" fmla="*/ 2096382 w 2477660"/>
              <a:gd name="connsiteY19" fmla="*/ 1408951 h 2135457"/>
              <a:gd name="connsiteX20" fmla="*/ 2096382 w 2477660"/>
              <a:gd name="connsiteY20" fmla="*/ 1408951 h 2135457"/>
              <a:gd name="connsiteX21" fmla="*/ 2096382 w 2477660"/>
              <a:gd name="connsiteY21" fmla="*/ 1681334 h 2135457"/>
              <a:gd name="connsiteX22" fmla="*/ 1681254 w 2477660"/>
              <a:gd name="connsiteY22" fmla="*/ 2096435 h 2135457"/>
              <a:gd name="connsiteX23" fmla="*/ 456086 w 2477660"/>
              <a:gd name="connsiteY23" fmla="*/ 2096435 h 2135457"/>
              <a:gd name="connsiteX24" fmla="*/ 40985 w 2477660"/>
              <a:gd name="connsiteY24" fmla="*/ 1681334 h 2135457"/>
              <a:gd name="connsiteX25" fmla="*/ 40985 w 2477660"/>
              <a:gd name="connsiteY25" fmla="*/ 1408951 h 2135457"/>
              <a:gd name="connsiteX26" fmla="*/ 19755 w 2477660"/>
              <a:gd name="connsiteY26" fmla="*/ 1389196 h 2135457"/>
              <a:gd name="connsiteX27" fmla="*/ 0 w 2477660"/>
              <a:gd name="connsiteY27" fmla="*/ 1408951 h 2135457"/>
              <a:gd name="connsiteX28" fmla="*/ 0 w 2477660"/>
              <a:gd name="connsiteY28" fmla="*/ 1681334 h 2135457"/>
              <a:gd name="connsiteX29" fmla="*/ 456086 w 2477660"/>
              <a:gd name="connsiteY29" fmla="*/ 2137420 h 2135457"/>
              <a:gd name="connsiteX30" fmla="*/ 1681387 w 2477660"/>
              <a:gd name="connsiteY30" fmla="*/ 2137420 h 2135457"/>
              <a:gd name="connsiteX31" fmla="*/ 2137500 w 2477660"/>
              <a:gd name="connsiteY31" fmla="*/ 1681334 h 2135457"/>
              <a:gd name="connsiteX32" fmla="*/ 2137500 w 2477660"/>
              <a:gd name="connsiteY32" fmla="*/ 1408951 h 2135457"/>
              <a:gd name="connsiteX33" fmla="*/ 2137500 w 2477660"/>
              <a:gd name="connsiteY33" fmla="*/ 1408951 h 2135457"/>
              <a:gd name="connsiteX34" fmla="*/ 2137500 w 2477660"/>
              <a:gd name="connsiteY34" fmla="*/ 1162060 h 2135457"/>
              <a:gd name="connsiteX35" fmla="*/ 2210397 w 2477660"/>
              <a:gd name="connsiteY35" fmla="*/ 1089163 h 2135457"/>
              <a:gd name="connsiteX36" fmla="*/ 2456492 w 2477660"/>
              <a:gd name="connsiteY36" fmla="*/ 1089163 h 2135457"/>
              <a:gd name="connsiteX37" fmla="*/ 2477721 w 2477660"/>
              <a:gd name="connsiteY37" fmla="*/ 1069408 h 2135457"/>
              <a:gd name="connsiteX38" fmla="*/ 2457966 w 2477660"/>
              <a:gd name="connsiteY38" fmla="*/ 1048178 h 2135457"/>
              <a:gd name="connsiteX39" fmla="*/ 2456492 w 2477660"/>
              <a:gd name="connsiteY39" fmla="*/ 1048178 h 2135457"/>
              <a:gd name="connsiteX40" fmla="*/ 2116941 w 2477660"/>
              <a:gd name="connsiteY40" fmla="*/ 1123330 h 2135457"/>
              <a:gd name="connsiteX41" fmla="*/ 2062294 w 2477660"/>
              <a:gd name="connsiteY41" fmla="*/ 1068684 h 2135457"/>
              <a:gd name="connsiteX42" fmla="*/ 2116941 w 2477660"/>
              <a:gd name="connsiteY42" fmla="*/ 1014037 h 2135457"/>
              <a:gd name="connsiteX43" fmla="*/ 2171587 w 2477660"/>
              <a:gd name="connsiteY43" fmla="*/ 1068684 h 2135457"/>
              <a:gd name="connsiteX44" fmla="*/ 2116994 w 2477660"/>
              <a:gd name="connsiteY44" fmla="*/ 1123251 h 213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77660" h="2135457">
                <a:moveTo>
                  <a:pt x="2456492" y="1048178"/>
                </a:moveTo>
                <a:lnTo>
                  <a:pt x="2210397" y="1048178"/>
                </a:lnTo>
                <a:cubicBezTo>
                  <a:pt x="2202318" y="1011783"/>
                  <a:pt x="2173895" y="983359"/>
                  <a:pt x="2137500" y="975281"/>
                </a:cubicBezTo>
                <a:lnTo>
                  <a:pt x="2137500" y="456033"/>
                </a:lnTo>
                <a:cubicBezTo>
                  <a:pt x="2137275" y="258464"/>
                  <a:pt x="2010084" y="83422"/>
                  <a:pt x="1822248" y="22177"/>
                </a:cubicBezTo>
                <a:lnTo>
                  <a:pt x="1821983" y="22177"/>
                </a:lnTo>
                <a:cubicBezTo>
                  <a:pt x="1776571" y="7454"/>
                  <a:pt x="1729126" y="-29"/>
                  <a:pt x="1681387" y="0"/>
                </a:cubicBezTo>
                <a:lnTo>
                  <a:pt x="456086" y="0"/>
                </a:lnTo>
                <a:cubicBezTo>
                  <a:pt x="408851" y="-33"/>
                  <a:pt x="361900" y="7297"/>
                  <a:pt x="316923" y="21726"/>
                </a:cubicBezTo>
                <a:cubicBezTo>
                  <a:pt x="306148" y="25184"/>
                  <a:pt x="300215" y="36722"/>
                  <a:pt x="303673" y="47497"/>
                </a:cubicBezTo>
                <a:cubicBezTo>
                  <a:pt x="307130" y="58273"/>
                  <a:pt x="318669" y="64205"/>
                  <a:pt x="329444" y="60748"/>
                </a:cubicBezTo>
                <a:cubicBezTo>
                  <a:pt x="370372" y="47605"/>
                  <a:pt x="413099" y="40920"/>
                  <a:pt x="456086" y="40932"/>
                </a:cubicBezTo>
                <a:lnTo>
                  <a:pt x="1681387" y="40932"/>
                </a:lnTo>
                <a:cubicBezTo>
                  <a:pt x="1724904" y="40894"/>
                  <a:pt x="1768154" y="47725"/>
                  <a:pt x="1809541" y="61172"/>
                </a:cubicBezTo>
                <a:lnTo>
                  <a:pt x="1809541" y="61172"/>
                </a:lnTo>
                <a:cubicBezTo>
                  <a:pt x="1980754" y="116541"/>
                  <a:pt x="2096656" y="276090"/>
                  <a:pt x="2096382" y="456033"/>
                </a:cubicBezTo>
                <a:lnTo>
                  <a:pt x="2096382" y="975307"/>
                </a:lnTo>
                <a:cubicBezTo>
                  <a:pt x="2044812" y="986364"/>
                  <a:pt x="2011969" y="1037134"/>
                  <a:pt x="2023026" y="1088704"/>
                </a:cubicBezTo>
                <a:cubicBezTo>
                  <a:pt x="2030908" y="1125464"/>
                  <a:pt x="2059623" y="1154179"/>
                  <a:pt x="2096382" y="1162060"/>
                </a:cubicBezTo>
                <a:lnTo>
                  <a:pt x="2096382" y="1408951"/>
                </a:lnTo>
                <a:lnTo>
                  <a:pt x="2096382" y="1408951"/>
                </a:lnTo>
                <a:lnTo>
                  <a:pt x="2096382" y="1681334"/>
                </a:lnTo>
                <a:cubicBezTo>
                  <a:pt x="2096382" y="1910239"/>
                  <a:pt x="1910160" y="2096435"/>
                  <a:pt x="1681254" y="2096435"/>
                </a:cubicBezTo>
                <a:lnTo>
                  <a:pt x="456086" y="2096435"/>
                </a:lnTo>
                <a:cubicBezTo>
                  <a:pt x="227181" y="2096435"/>
                  <a:pt x="40985" y="1910239"/>
                  <a:pt x="40985" y="1681334"/>
                </a:cubicBezTo>
                <a:lnTo>
                  <a:pt x="40985" y="1408951"/>
                </a:lnTo>
                <a:cubicBezTo>
                  <a:pt x="40578" y="1397633"/>
                  <a:pt x="31073" y="1388789"/>
                  <a:pt x="19755" y="1389196"/>
                </a:cubicBezTo>
                <a:cubicBezTo>
                  <a:pt x="9009" y="1389583"/>
                  <a:pt x="387" y="1398205"/>
                  <a:pt x="0" y="1408951"/>
                </a:cubicBezTo>
                <a:lnTo>
                  <a:pt x="0" y="1681334"/>
                </a:lnTo>
                <a:cubicBezTo>
                  <a:pt x="0" y="1932841"/>
                  <a:pt x="204606" y="2137420"/>
                  <a:pt x="456086" y="2137420"/>
                </a:cubicBezTo>
                <a:lnTo>
                  <a:pt x="1681387" y="2137420"/>
                </a:lnTo>
                <a:cubicBezTo>
                  <a:pt x="1932894" y="2137420"/>
                  <a:pt x="2137500" y="1932841"/>
                  <a:pt x="2137500" y="1681334"/>
                </a:cubicBezTo>
                <a:lnTo>
                  <a:pt x="2137500" y="1408951"/>
                </a:lnTo>
                <a:lnTo>
                  <a:pt x="2137500" y="1408951"/>
                </a:lnTo>
                <a:lnTo>
                  <a:pt x="2137500" y="1162060"/>
                </a:lnTo>
                <a:cubicBezTo>
                  <a:pt x="2173904" y="1153999"/>
                  <a:pt x="2202336" y="1125568"/>
                  <a:pt x="2210397" y="1089163"/>
                </a:cubicBezTo>
                <a:lnTo>
                  <a:pt x="2456492" y="1089163"/>
                </a:lnTo>
                <a:cubicBezTo>
                  <a:pt x="2467809" y="1089570"/>
                  <a:pt x="2477314" y="1080726"/>
                  <a:pt x="2477721" y="1069408"/>
                </a:cubicBezTo>
                <a:cubicBezTo>
                  <a:pt x="2478129" y="1058090"/>
                  <a:pt x="2469284" y="1048585"/>
                  <a:pt x="2457966" y="1048178"/>
                </a:cubicBezTo>
                <a:cubicBezTo>
                  <a:pt x="2457475" y="1048160"/>
                  <a:pt x="2456983" y="1048160"/>
                  <a:pt x="2456492" y="1048178"/>
                </a:cubicBezTo>
                <a:close/>
                <a:moveTo>
                  <a:pt x="2116941" y="1123330"/>
                </a:moveTo>
                <a:cubicBezTo>
                  <a:pt x="2086760" y="1123330"/>
                  <a:pt x="2062294" y="1098864"/>
                  <a:pt x="2062294" y="1068684"/>
                </a:cubicBezTo>
                <a:cubicBezTo>
                  <a:pt x="2062294" y="1038503"/>
                  <a:pt x="2086760" y="1014037"/>
                  <a:pt x="2116941" y="1014037"/>
                </a:cubicBezTo>
                <a:cubicBezTo>
                  <a:pt x="2147121" y="1014037"/>
                  <a:pt x="2171587" y="1038503"/>
                  <a:pt x="2171587" y="1068684"/>
                </a:cubicBezTo>
                <a:cubicBezTo>
                  <a:pt x="2171514" y="1098800"/>
                  <a:pt x="2147110" y="1123192"/>
                  <a:pt x="2116994" y="1123251"/>
                </a:cubicBezTo>
                <a:close/>
              </a:path>
            </a:pathLst>
          </a:custGeom>
          <a:solidFill>
            <a:srgbClr val="0097A9"/>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74" name="Rectangle: Rounded Corners 673">
            <a:extLst>
              <a:ext uri="{FF2B5EF4-FFF2-40B4-BE49-F238E27FC236}">
                <a16:creationId xmlns:a16="http://schemas.microsoft.com/office/drawing/2014/main" id="{8C0CA1C0-F589-C260-B7B3-3CADF594081E}"/>
              </a:ext>
            </a:extLst>
          </p:cNvPr>
          <p:cNvSpPr/>
          <p:nvPr/>
        </p:nvSpPr>
        <p:spPr>
          <a:xfrm rot="5400000">
            <a:off x="4401471" y="3819285"/>
            <a:ext cx="910177" cy="972033"/>
          </a:xfrm>
          <a:prstGeom prst="roundRect">
            <a:avLst/>
          </a:prstGeom>
          <a:solidFill>
            <a:srgbClr val="F7F7F7"/>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77" name="Freeform: Shape 676">
            <a:extLst>
              <a:ext uri="{FF2B5EF4-FFF2-40B4-BE49-F238E27FC236}">
                <a16:creationId xmlns:a16="http://schemas.microsoft.com/office/drawing/2014/main" id="{244A7EF5-AA27-1C50-9DC7-868BD8487469}"/>
              </a:ext>
            </a:extLst>
          </p:cNvPr>
          <p:cNvSpPr/>
          <p:nvPr/>
        </p:nvSpPr>
        <p:spPr>
          <a:xfrm rot="5400000">
            <a:off x="4291235" y="5744167"/>
            <a:ext cx="25173" cy="25468"/>
          </a:xfrm>
          <a:custGeom>
            <a:avLst/>
            <a:gdLst>
              <a:gd name="connsiteX0" fmla="*/ 27244 w 50402"/>
              <a:gd name="connsiteY0" fmla="*/ 0 h 47749"/>
              <a:gd name="connsiteX1" fmla="*/ 24591 w 50402"/>
              <a:gd name="connsiteY1" fmla="*/ 0 h 47749"/>
              <a:gd name="connsiteX2" fmla="*/ 0 w 50402"/>
              <a:gd name="connsiteY2" fmla="*/ 24591 h 47749"/>
              <a:gd name="connsiteX3" fmla="*/ 24591 w 50402"/>
              <a:gd name="connsiteY3" fmla="*/ 49182 h 47749"/>
              <a:gd name="connsiteX4" fmla="*/ 27244 w 50402"/>
              <a:gd name="connsiteY4" fmla="*/ 49182 h 47749"/>
              <a:gd name="connsiteX5" fmla="*/ 51835 w 50402"/>
              <a:gd name="connsiteY5" fmla="*/ 24591 h 47749"/>
              <a:gd name="connsiteX6" fmla="*/ 27244 w 50402"/>
              <a:gd name="connsiteY6" fmla="*/ 0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2" h="47749">
                <a:moveTo>
                  <a:pt x="27244" y="0"/>
                </a:moveTo>
                <a:lnTo>
                  <a:pt x="24591" y="0"/>
                </a:lnTo>
                <a:cubicBezTo>
                  <a:pt x="11010" y="0"/>
                  <a:pt x="0" y="11010"/>
                  <a:pt x="0" y="24591"/>
                </a:cubicBezTo>
                <a:cubicBezTo>
                  <a:pt x="0" y="38172"/>
                  <a:pt x="11010" y="49182"/>
                  <a:pt x="24591" y="49182"/>
                </a:cubicBezTo>
                <a:lnTo>
                  <a:pt x="27244" y="49182"/>
                </a:lnTo>
                <a:cubicBezTo>
                  <a:pt x="40825" y="49182"/>
                  <a:pt x="51835" y="38172"/>
                  <a:pt x="51835" y="24591"/>
                </a:cubicBezTo>
                <a:cubicBezTo>
                  <a:pt x="51835" y="11010"/>
                  <a:pt x="40825" y="0"/>
                  <a:pt x="27244" y="0"/>
                </a:cubicBezTo>
                <a:close/>
              </a:path>
            </a:pathLst>
          </a:custGeom>
          <a:solidFill>
            <a:srgbClr val="007680"/>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78" name="Freeform: Shape 677">
            <a:extLst>
              <a:ext uri="{FF2B5EF4-FFF2-40B4-BE49-F238E27FC236}">
                <a16:creationId xmlns:a16="http://schemas.microsoft.com/office/drawing/2014/main" id="{2C53DEBF-17D2-F0E0-0587-FC9A82F46427}"/>
              </a:ext>
            </a:extLst>
          </p:cNvPr>
          <p:cNvSpPr/>
          <p:nvPr/>
        </p:nvSpPr>
        <p:spPr>
          <a:xfrm rot="5400000">
            <a:off x="4291235" y="5626880"/>
            <a:ext cx="25173" cy="25468"/>
          </a:xfrm>
          <a:custGeom>
            <a:avLst/>
            <a:gdLst>
              <a:gd name="connsiteX0" fmla="*/ 27244 w 50402"/>
              <a:gd name="connsiteY0" fmla="*/ 0 h 47749"/>
              <a:gd name="connsiteX1" fmla="*/ 24591 w 50402"/>
              <a:gd name="connsiteY1" fmla="*/ 0 h 47749"/>
              <a:gd name="connsiteX2" fmla="*/ 0 w 50402"/>
              <a:gd name="connsiteY2" fmla="*/ 24591 h 47749"/>
              <a:gd name="connsiteX3" fmla="*/ 24591 w 50402"/>
              <a:gd name="connsiteY3" fmla="*/ 49182 h 47749"/>
              <a:gd name="connsiteX4" fmla="*/ 27244 w 50402"/>
              <a:gd name="connsiteY4" fmla="*/ 49182 h 47749"/>
              <a:gd name="connsiteX5" fmla="*/ 51835 w 50402"/>
              <a:gd name="connsiteY5" fmla="*/ 24591 h 47749"/>
              <a:gd name="connsiteX6" fmla="*/ 27244 w 50402"/>
              <a:gd name="connsiteY6" fmla="*/ 0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402" h="47749">
                <a:moveTo>
                  <a:pt x="27244" y="0"/>
                </a:moveTo>
                <a:lnTo>
                  <a:pt x="24591" y="0"/>
                </a:lnTo>
                <a:cubicBezTo>
                  <a:pt x="11010" y="0"/>
                  <a:pt x="0" y="11010"/>
                  <a:pt x="0" y="24591"/>
                </a:cubicBezTo>
                <a:cubicBezTo>
                  <a:pt x="0" y="38172"/>
                  <a:pt x="11010" y="49182"/>
                  <a:pt x="24591" y="49182"/>
                </a:cubicBezTo>
                <a:lnTo>
                  <a:pt x="27244" y="49182"/>
                </a:lnTo>
                <a:cubicBezTo>
                  <a:pt x="40825" y="49182"/>
                  <a:pt x="51835" y="38172"/>
                  <a:pt x="51835" y="24591"/>
                </a:cubicBezTo>
                <a:cubicBezTo>
                  <a:pt x="51835" y="11010"/>
                  <a:pt x="40825" y="0"/>
                  <a:pt x="27244" y="0"/>
                </a:cubicBezTo>
                <a:close/>
              </a:path>
            </a:pathLst>
          </a:custGeom>
          <a:solidFill>
            <a:srgbClr val="007680"/>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79" name="Freeform: Shape 678">
            <a:extLst>
              <a:ext uri="{FF2B5EF4-FFF2-40B4-BE49-F238E27FC236}">
                <a16:creationId xmlns:a16="http://schemas.microsoft.com/office/drawing/2014/main" id="{4C8AEBA1-6262-C065-DA4D-2369C7891421}"/>
              </a:ext>
            </a:extLst>
          </p:cNvPr>
          <p:cNvSpPr/>
          <p:nvPr/>
        </p:nvSpPr>
        <p:spPr>
          <a:xfrm rot="5400000">
            <a:off x="4543495" y="6070634"/>
            <a:ext cx="23848" cy="26884"/>
          </a:xfrm>
          <a:custGeom>
            <a:avLst/>
            <a:gdLst>
              <a:gd name="connsiteX0" fmla="*/ 24591 w 47749"/>
              <a:gd name="connsiteY0" fmla="*/ 0 h 50402"/>
              <a:gd name="connsiteX1" fmla="*/ 0 w 47749"/>
              <a:gd name="connsiteY1" fmla="*/ 24564 h 50402"/>
              <a:gd name="connsiteX2" fmla="*/ 0 w 47749"/>
              <a:gd name="connsiteY2" fmla="*/ 27217 h 50402"/>
              <a:gd name="connsiteX3" fmla="*/ 24591 w 47749"/>
              <a:gd name="connsiteY3" fmla="*/ 51808 h 50402"/>
              <a:gd name="connsiteX4" fmla="*/ 49182 w 47749"/>
              <a:gd name="connsiteY4" fmla="*/ 27217 h 50402"/>
              <a:gd name="connsiteX5" fmla="*/ 49182 w 47749"/>
              <a:gd name="connsiteY5" fmla="*/ 24564 h 50402"/>
              <a:gd name="connsiteX6" fmla="*/ 24591 w 47749"/>
              <a:gd name="connsiteY6" fmla="*/ 0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749" h="50402">
                <a:moveTo>
                  <a:pt x="24591" y="0"/>
                </a:moveTo>
                <a:cubicBezTo>
                  <a:pt x="11020" y="0"/>
                  <a:pt x="14" y="10994"/>
                  <a:pt x="0" y="24564"/>
                </a:cubicBezTo>
                <a:lnTo>
                  <a:pt x="0" y="27217"/>
                </a:lnTo>
                <a:cubicBezTo>
                  <a:pt x="0" y="40798"/>
                  <a:pt x="11010" y="51808"/>
                  <a:pt x="24591" y="51808"/>
                </a:cubicBezTo>
                <a:cubicBezTo>
                  <a:pt x="38172" y="51808"/>
                  <a:pt x="49182" y="40798"/>
                  <a:pt x="49182" y="27217"/>
                </a:cubicBezTo>
                <a:lnTo>
                  <a:pt x="49182" y="24564"/>
                </a:lnTo>
                <a:cubicBezTo>
                  <a:pt x="49168" y="10994"/>
                  <a:pt x="38162" y="0"/>
                  <a:pt x="24591" y="0"/>
                </a:cubicBezTo>
                <a:close/>
              </a:path>
            </a:pathLst>
          </a:custGeom>
          <a:solidFill>
            <a:srgbClr val="007680"/>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80" name="Freeform: Shape 679">
            <a:extLst>
              <a:ext uri="{FF2B5EF4-FFF2-40B4-BE49-F238E27FC236}">
                <a16:creationId xmlns:a16="http://schemas.microsoft.com/office/drawing/2014/main" id="{394753B1-E70C-D432-6955-3190262CB178}"/>
              </a:ext>
            </a:extLst>
          </p:cNvPr>
          <p:cNvSpPr/>
          <p:nvPr/>
        </p:nvSpPr>
        <p:spPr>
          <a:xfrm rot="5400000">
            <a:off x="4421073" y="6048696"/>
            <a:ext cx="25173" cy="26884"/>
          </a:xfrm>
          <a:custGeom>
            <a:avLst/>
            <a:gdLst>
              <a:gd name="connsiteX0" fmla="*/ 36607 w 50402"/>
              <a:gd name="connsiteY0" fmla="*/ 2503 h 50402"/>
              <a:gd name="connsiteX1" fmla="*/ 3716 w 50402"/>
              <a:gd name="connsiteY1" fmla="*/ 13799 h 50402"/>
              <a:gd name="connsiteX2" fmla="*/ 3713 w 50402"/>
              <a:gd name="connsiteY2" fmla="*/ 13804 h 50402"/>
              <a:gd name="connsiteX3" fmla="*/ 2600 w 50402"/>
              <a:gd name="connsiteY3" fmla="*/ 16059 h 50402"/>
              <a:gd name="connsiteX4" fmla="*/ 13608 w 50402"/>
              <a:gd name="connsiteY4" fmla="*/ 49059 h 50402"/>
              <a:gd name="connsiteX5" fmla="*/ 46608 w 50402"/>
              <a:gd name="connsiteY5" fmla="*/ 38050 h 50402"/>
              <a:gd name="connsiteX6" fmla="*/ 47909 w 50402"/>
              <a:gd name="connsiteY6" fmla="*/ 35397 h 50402"/>
              <a:gd name="connsiteX7" fmla="*/ 36614 w 50402"/>
              <a:gd name="connsiteY7" fmla="*/ 2506 h 50402"/>
              <a:gd name="connsiteX8" fmla="*/ 36608 w 50402"/>
              <a:gd name="connsiteY8" fmla="*/ 2503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402" h="50402">
                <a:moveTo>
                  <a:pt x="36607" y="2503"/>
                </a:moveTo>
                <a:cubicBezTo>
                  <a:pt x="24406" y="-3460"/>
                  <a:pt x="9680" y="1597"/>
                  <a:pt x="3716" y="13799"/>
                </a:cubicBezTo>
                <a:cubicBezTo>
                  <a:pt x="3715" y="13800"/>
                  <a:pt x="3715" y="13802"/>
                  <a:pt x="3713" y="13804"/>
                </a:cubicBezTo>
                <a:lnTo>
                  <a:pt x="2600" y="16059"/>
                </a:lnTo>
                <a:cubicBezTo>
                  <a:pt x="-3473" y="28211"/>
                  <a:pt x="1456" y="42986"/>
                  <a:pt x="13608" y="49059"/>
                </a:cubicBezTo>
                <a:cubicBezTo>
                  <a:pt x="25760" y="55132"/>
                  <a:pt x="40536" y="50203"/>
                  <a:pt x="46608" y="38050"/>
                </a:cubicBezTo>
                <a:lnTo>
                  <a:pt x="47909" y="35397"/>
                </a:lnTo>
                <a:cubicBezTo>
                  <a:pt x="53872" y="23195"/>
                  <a:pt x="48815" y="8469"/>
                  <a:pt x="36614" y="2506"/>
                </a:cubicBezTo>
                <a:cubicBezTo>
                  <a:pt x="36612" y="2505"/>
                  <a:pt x="36610" y="2504"/>
                  <a:pt x="36608" y="2503"/>
                </a:cubicBezTo>
                <a:close/>
              </a:path>
            </a:pathLst>
          </a:custGeom>
          <a:solidFill>
            <a:srgbClr val="007680"/>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81" name="Freeform: Shape 680">
            <a:extLst>
              <a:ext uri="{FF2B5EF4-FFF2-40B4-BE49-F238E27FC236}">
                <a16:creationId xmlns:a16="http://schemas.microsoft.com/office/drawing/2014/main" id="{1E73D23A-2365-B460-83C3-2B637141045D}"/>
              </a:ext>
            </a:extLst>
          </p:cNvPr>
          <p:cNvSpPr/>
          <p:nvPr/>
        </p:nvSpPr>
        <p:spPr>
          <a:xfrm rot="5400000">
            <a:off x="4291416" y="5861633"/>
            <a:ext cx="25173" cy="25468"/>
          </a:xfrm>
          <a:custGeom>
            <a:avLst/>
            <a:gdLst>
              <a:gd name="connsiteX0" fmla="*/ 26149 w 50402"/>
              <a:gd name="connsiteY0" fmla="*/ 18 h 47749"/>
              <a:gd name="connsiteX1" fmla="*/ 23497 w 50402"/>
              <a:gd name="connsiteY1" fmla="*/ 18 h 47749"/>
              <a:gd name="connsiteX2" fmla="*/ 25 w 50402"/>
              <a:gd name="connsiteY2" fmla="*/ 25680 h 47749"/>
              <a:gd name="connsiteX3" fmla="*/ 24266 w 50402"/>
              <a:gd name="connsiteY3" fmla="*/ 49174 h 47749"/>
              <a:gd name="connsiteX4" fmla="*/ 25089 w 50402"/>
              <a:gd name="connsiteY4" fmla="*/ 49174 h 47749"/>
              <a:gd name="connsiteX5" fmla="*/ 27954 w 50402"/>
              <a:gd name="connsiteY5" fmla="*/ 49174 h 47749"/>
              <a:gd name="connsiteX6" fmla="*/ 51590 w 50402"/>
              <a:gd name="connsiteY6" fmla="*/ 23654 h 47749"/>
              <a:gd name="connsiteX7" fmla="*/ 26070 w 50402"/>
              <a:gd name="connsiteY7" fmla="*/ 18 h 4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02" h="47749">
                <a:moveTo>
                  <a:pt x="26149" y="18"/>
                </a:moveTo>
                <a:lnTo>
                  <a:pt x="23497" y="18"/>
                </a:lnTo>
                <a:cubicBezTo>
                  <a:pt x="9929" y="623"/>
                  <a:pt x="-580" y="12112"/>
                  <a:pt x="25" y="25680"/>
                </a:cubicBezTo>
                <a:cubicBezTo>
                  <a:pt x="605" y="38696"/>
                  <a:pt x="11237" y="49001"/>
                  <a:pt x="24266" y="49174"/>
                </a:cubicBezTo>
                <a:lnTo>
                  <a:pt x="25089" y="49174"/>
                </a:lnTo>
                <a:lnTo>
                  <a:pt x="27954" y="49174"/>
                </a:lnTo>
                <a:cubicBezTo>
                  <a:pt x="41527" y="48654"/>
                  <a:pt x="52110" y="37228"/>
                  <a:pt x="51590" y="23654"/>
                </a:cubicBezTo>
                <a:cubicBezTo>
                  <a:pt x="51069" y="10080"/>
                  <a:pt x="39645" y="-502"/>
                  <a:pt x="26070" y="18"/>
                </a:cubicBezTo>
                <a:close/>
              </a:path>
            </a:pathLst>
          </a:custGeom>
          <a:solidFill>
            <a:srgbClr val="007680"/>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82" name="Freeform: Shape 681">
            <a:extLst>
              <a:ext uri="{FF2B5EF4-FFF2-40B4-BE49-F238E27FC236}">
                <a16:creationId xmlns:a16="http://schemas.microsoft.com/office/drawing/2014/main" id="{B2BD8A78-D581-84A7-03E2-3EF915E936DA}"/>
              </a:ext>
            </a:extLst>
          </p:cNvPr>
          <p:cNvSpPr/>
          <p:nvPr/>
        </p:nvSpPr>
        <p:spPr>
          <a:xfrm rot="5400000">
            <a:off x="4328244" y="5970940"/>
            <a:ext cx="25173" cy="26884"/>
          </a:xfrm>
          <a:custGeom>
            <a:avLst/>
            <a:gdLst>
              <a:gd name="connsiteX0" fmla="*/ 14403 w 50402"/>
              <a:gd name="connsiteY0" fmla="*/ 3860 h 50402"/>
              <a:gd name="connsiteX1" fmla="*/ 12254 w 50402"/>
              <a:gd name="connsiteY1" fmla="*/ 5240 h 50402"/>
              <a:gd name="connsiteX2" fmla="*/ 3325 w 50402"/>
              <a:gd name="connsiteY2" fmla="*/ 38851 h 50402"/>
              <a:gd name="connsiteX3" fmla="*/ 36936 w 50402"/>
              <a:gd name="connsiteY3" fmla="*/ 47780 h 50402"/>
              <a:gd name="connsiteX4" fmla="*/ 38782 w 50402"/>
              <a:gd name="connsiteY4" fmla="*/ 46596 h 50402"/>
              <a:gd name="connsiteX5" fmla="*/ 41223 w 50402"/>
              <a:gd name="connsiteY5" fmla="*/ 45031 h 50402"/>
              <a:gd name="connsiteX6" fmla="*/ 47985 w 50402"/>
              <a:gd name="connsiteY6" fmla="*/ 10918 h 50402"/>
              <a:gd name="connsiteX7" fmla="*/ 14324 w 50402"/>
              <a:gd name="connsiteY7" fmla="*/ 3860 h 5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02" h="50402">
                <a:moveTo>
                  <a:pt x="14403" y="3860"/>
                </a:moveTo>
                <a:lnTo>
                  <a:pt x="12254" y="5240"/>
                </a:lnTo>
                <a:cubicBezTo>
                  <a:pt x="508" y="12055"/>
                  <a:pt x="-3491" y="27104"/>
                  <a:pt x="3325" y="38851"/>
                </a:cubicBezTo>
                <a:cubicBezTo>
                  <a:pt x="10141" y="50598"/>
                  <a:pt x="25188" y="54596"/>
                  <a:pt x="36936" y="47780"/>
                </a:cubicBezTo>
                <a:cubicBezTo>
                  <a:pt x="37568" y="47413"/>
                  <a:pt x="38185" y="47018"/>
                  <a:pt x="38782" y="46596"/>
                </a:cubicBezTo>
                <a:lnTo>
                  <a:pt x="41223" y="45031"/>
                </a:lnTo>
                <a:cubicBezTo>
                  <a:pt x="52511" y="37478"/>
                  <a:pt x="55538" y="22205"/>
                  <a:pt x="47985" y="10918"/>
                </a:cubicBezTo>
                <a:cubicBezTo>
                  <a:pt x="40549" y="-194"/>
                  <a:pt x="25597" y="-3329"/>
                  <a:pt x="14324" y="3860"/>
                </a:cubicBezTo>
                <a:close/>
              </a:path>
            </a:pathLst>
          </a:custGeom>
          <a:solidFill>
            <a:srgbClr val="007680"/>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83" name="Freeform: Shape 682">
            <a:extLst>
              <a:ext uri="{FF2B5EF4-FFF2-40B4-BE49-F238E27FC236}">
                <a16:creationId xmlns:a16="http://schemas.microsoft.com/office/drawing/2014/main" id="{14D47074-AB87-6C9A-5861-1D3F17F6EDCF}"/>
              </a:ext>
            </a:extLst>
          </p:cNvPr>
          <p:cNvSpPr/>
          <p:nvPr/>
        </p:nvSpPr>
        <p:spPr>
          <a:xfrm rot="5400000">
            <a:off x="4310637" y="4971906"/>
            <a:ext cx="1104931" cy="1138987"/>
          </a:xfrm>
          <a:custGeom>
            <a:avLst/>
            <a:gdLst>
              <a:gd name="connsiteX0" fmla="*/ 2173027 w 2212386"/>
              <a:gd name="connsiteY0" fmla="*/ 1409030 h 2135457"/>
              <a:gd name="connsiteX1" fmla="*/ 2192781 w 2212386"/>
              <a:gd name="connsiteY1" fmla="*/ 1430260 h 2135457"/>
              <a:gd name="connsiteX2" fmla="*/ 2214011 w 2212386"/>
              <a:gd name="connsiteY2" fmla="*/ 1410505 h 2135457"/>
              <a:gd name="connsiteX3" fmla="*/ 2214011 w 2212386"/>
              <a:gd name="connsiteY3" fmla="*/ 1409030 h 2135457"/>
              <a:gd name="connsiteX4" fmla="*/ 2214012 w 2212386"/>
              <a:gd name="connsiteY4" fmla="*/ 456112 h 2135457"/>
              <a:gd name="connsiteX5" fmla="*/ 1758112 w 2212386"/>
              <a:gd name="connsiteY5" fmla="*/ 0 h 2135457"/>
              <a:gd name="connsiteX6" fmla="*/ 1757927 w 2212386"/>
              <a:gd name="connsiteY6" fmla="*/ 0 h 2135457"/>
              <a:gd name="connsiteX7" fmla="*/ 532598 w 2212386"/>
              <a:gd name="connsiteY7" fmla="*/ 0 h 2135457"/>
              <a:gd name="connsiteX8" fmla="*/ 393753 w 2212386"/>
              <a:gd name="connsiteY8" fmla="*/ 21673 h 2135457"/>
              <a:gd name="connsiteX9" fmla="*/ 393594 w 2212386"/>
              <a:gd name="connsiteY9" fmla="*/ 21673 h 2135457"/>
              <a:gd name="connsiteX10" fmla="*/ 76644 w 2212386"/>
              <a:gd name="connsiteY10" fmla="*/ 456086 h 2135457"/>
              <a:gd name="connsiteX11" fmla="*/ 76644 w 2212386"/>
              <a:gd name="connsiteY11" fmla="*/ 975148 h 2135457"/>
              <a:gd name="connsiteX12" fmla="*/ 1902 w 2212386"/>
              <a:gd name="connsiteY12" fmla="*/ 1087636 h 2135457"/>
              <a:gd name="connsiteX13" fmla="*/ 76644 w 2212386"/>
              <a:gd name="connsiteY13" fmla="*/ 1162378 h 2135457"/>
              <a:gd name="connsiteX14" fmla="*/ 76644 w 2212386"/>
              <a:gd name="connsiteY14" fmla="*/ 1681414 h 2135457"/>
              <a:gd name="connsiteX15" fmla="*/ 532730 w 2212386"/>
              <a:gd name="connsiteY15" fmla="*/ 2137500 h 2135457"/>
              <a:gd name="connsiteX16" fmla="*/ 1145381 w 2212386"/>
              <a:gd name="connsiteY16" fmla="*/ 2137500 h 2135457"/>
              <a:gd name="connsiteX17" fmla="*/ 1166610 w 2212386"/>
              <a:gd name="connsiteY17" fmla="*/ 2117745 h 2135457"/>
              <a:gd name="connsiteX18" fmla="*/ 1146856 w 2212386"/>
              <a:gd name="connsiteY18" fmla="*/ 2096515 h 2135457"/>
              <a:gd name="connsiteX19" fmla="*/ 1145381 w 2212386"/>
              <a:gd name="connsiteY19" fmla="*/ 2096515 h 2135457"/>
              <a:gd name="connsiteX20" fmla="*/ 532598 w 2212386"/>
              <a:gd name="connsiteY20" fmla="*/ 2096515 h 2135457"/>
              <a:gd name="connsiteX21" fmla="*/ 117497 w 2212386"/>
              <a:gd name="connsiteY21" fmla="*/ 1681414 h 2135457"/>
              <a:gd name="connsiteX22" fmla="*/ 117497 w 2212386"/>
              <a:gd name="connsiteY22" fmla="*/ 1161927 h 2135457"/>
              <a:gd name="connsiteX23" fmla="*/ 189675 w 2212386"/>
              <a:gd name="connsiteY23" fmla="*/ 1047777 h 2135457"/>
              <a:gd name="connsiteX24" fmla="*/ 117497 w 2212386"/>
              <a:gd name="connsiteY24" fmla="*/ 975599 h 2135457"/>
              <a:gd name="connsiteX25" fmla="*/ 117497 w 2212386"/>
              <a:gd name="connsiteY25" fmla="*/ 456112 h 2135457"/>
              <a:gd name="connsiteX26" fmla="*/ 405823 w 2212386"/>
              <a:gd name="connsiteY26" fmla="*/ 60854 h 2135457"/>
              <a:gd name="connsiteX27" fmla="*/ 405983 w 2212386"/>
              <a:gd name="connsiteY27" fmla="*/ 60854 h 2135457"/>
              <a:gd name="connsiteX28" fmla="*/ 532598 w 2212386"/>
              <a:gd name="connsiteY28" fmla="*/ 41011 h 2135457"/>
              <a:gd name="connsiteX29" fmla="*/ 1757926 w 2212386"/>
              <a:gd name="connsiteY29" fmla="*/ 41011 h 2135457"/>
              <a:gd name="connsiteX30" fmla="*/ 2173027 w 2212386"/>
              <a:gd name="connsiteY30" fmla="*/ 455900 h 2135457"/>
              <a:gd name="connsiteX31" fmla="*/ 2173027 w 2212386"/>
              <a:gd name="connsiteY31" fmla="*/ 456139 h 2135457"/>
              <a:gd name="connsiteX32" fmla="*/ 150656 w 2212386"/>
              <a:gd name="connsiteY32" fmla="*/ 1068763 h 2135457"/>
              <a:gd name="connsiteX33" fmla="*/ 96010 w 2212386"/>
              <a:gd name="connsiteY33" fmla="*/ 1123410 h 2135457"/>
              <a:gd name="connsiteX34" fmla="*/ 41363 w 2212386"/>
              <a:gd name="connsiteY34" fmla="*/ 1068763 h 2135457"/>
              <a:gd name="connsiteX35" fmla="*/ 96010 w 2212386"/>
              <a:gd name="connsiteY35" fmla="*/ 1014117 h 2135457"/>
              <a:gd name="connsiteX36" fmla="*/ 150656 w 2212386"/>
              <a:gd name="connsiteY36" fmla="*/ 1068763 h 213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212386" h="2135457">
                <a:moveTo>
                  <a:pt x="2173027" y="1409030"/>
                </a:moveTo>
                <a:cubicBezTo>
                  <a:pt x="2172620" y="1420348"/>
                  <a:pt x="2181464" y="1429853"/>
                  <a:pt x="2192781" y="1430260"/>
                </a:cubicBezTo>
                <a:cubicBezTo>
                  <a:pt x="2204099" y="1430667"/>
                  <a:pt x="2213604" y="1421823"/>
                  <a:pt x="2214011" y="1410505"/>
                </a:cubicBezTo>
                <a:cubicBezTo>
                  <a:pt x="2214029" y="1410014"/>
                  <a:pt x="2214029" y="1409522"/>
                  <a:pt x="2214011" y="1409030"/>
                </a:cubicBezTo>
                <a:lnTo>
                  <a:pt x="2214012" y="456112"/>
                </a:lnTo>
                <a:cubicBezTo>
                  <a:pt x="2214070" y="204267"/>
                  <a:pt x="2009957" y="59"/>
                  <a:pt x="1758112" y="0"/>
                </a:cubicBezTo>
                <a:cubicBezTo>
                  <a:pt x="1758050" y="0"/>
                  <a:pt x="1757988" y="0"/>
                  <a:pt x="1757927" y="0"/>
                </a:cubicBezTo>
                <a:lnTo>
                  <a:pt x="532598" y="0"/>
                </a:lnTo>
                <a:cubicBezTo>
                  <a:pt x="485472" y="-24"/>
                  <a:pt x="438630" y="7288"/>
                  <a:pt x="393753" y="21673"/>
                </a:cubicBezTo>
                <a:lnTo>
                  <a:pt x="393594" y="21673"/>
                </a:lnTo>
                <a:cubicBezTo>
                  <a:pt x="204891" y="82386"/>
                  <a:pt x="76867" y="257857"/>
                  <a:pt x="76644" y="456086"/>
                </a:cubicBezTo>
                <a:lnTo>
                  <a:pt x="76644" y="975148"/>
                </a:lnTo>
                <a:cubicBezTo>
                  <a:pt x="24942" y="985571"/>
                  <a:pt x="-8521" y="1035934"/>
                  <a:pt x="1902" y="1087636"/>
                </a:cubicBezTo>
                <a:cubicBezTo>
                  <a:pt x="9500" y="1125324"/>
                  <a:pt x="38957" y="1154781"/>
                  <a:pt x="76644" y="1162378"/>
                </a:cubicBezTo>
                <a:lnTo>
                  <a:pt x="76644" y="1681414"/>
                </a:lnTo>
                <a:cubicBezTo>
                  <a:pt x="76644" y="1932920"/>
                  <a:pt x="281251" y="2137500"/>
                  <a:pt x="532730" y="2137500"/>
                </a:cubicBezTo>
                <a:lnTo>
                  <a:pt x="1145381" y="2137500"/>
                </a:lnTo>
                <a:cubicBezTo>
                  <a:pt x="1156699" y="2137907"/>
                  <a:pt x="1166204" y="2129063"/>
                  <a:pt x="1166610" y="2117745"/>
                </a:cubicBezTo>
                <a:cubicBezTo>
                  <a:pt x="1167017" y="2106427"/>
                  <a:pt x="1158173" y="2096922"/>
                  <a:pt x="1146856" y="2096515"/>
                </a:cubicBezTo>
                <a:cubicBezTo>
                  <a:pt x="1146365" y="2096497"/>
                  <a:pt x="1145873" y="2096497"/>
                  <a:pt x="1145381" y="2096515"/>
                </a:cubicBezTo>
                <a:lnTo>
                  <a:pt x="532598" y="2096515"/>
                </a:lnTo>
                <a:cubicBezTo>
                  <a:pt x="303693" y="2096515"/>
                  <a:pt x="117497" y="1910319"/>
                  <a:pt x="117497" y="1681414"/>
                </a:cubicBezTo>
                <a:lnTo>
                  <a:pt x="117497" y="1161927"/>
                </a:lnTo>
                <a:cubicBezTo>
                  <a:pt x="168950" y="1150337"/>
                  <a:pt x="201266" y="1099230"/>
                  <a:pt x="189675" y="1047777"/>
                </a:cubicBezTo>
                <a:cubicBezTo>
                  <a:pt x="181571" y="1011799"/>
                  <a:pt x="153475" y="983703"/>
                  <a:pt x="117497" y="975599"/>
                </a:cubicBezTo>
                <a:lnTo>
                  <a:pt x="117497" y="456112"/>
                </a:lnTo>
                <a:cubicBezTo>
                  <a:pt x="117180" y="275598"/>
                  <a:pt x="233836" y="115679"/>
                  <a:pt x="405823" y="60854"/>
                </a:cubicBezTo>
                <a:lnTo>
                  <a:pt x="405983" y="60854"/>
                </a:lnTo>
                <a:cubicBezTo>
                  <a:pt x="446900" y="47699"/>
                  <a:pt x="489618" y="41004"/>
                  <a:pt x="532598" y="41011"/>
                </a:cubicBezTo>
                <a:lnTo>
                  <a:pt x="1757926" y="41011"/>
                </a:lnTo>
                <a:cubicBezTo>
                  <a:pt x="1987121" y="40953"/>
                  <a:pt x="2172968" y="226705"/>
                  <a:pt x="2173027" y="455900"/>
                </a:cubicBezTo>
                <a:cubicBezTo>
                  <a:pt x="2173027" y="455980"/>
                  <a:pt x="2173027" y="456059"/>
                  <a:pt x="2173027" y="456139"/>
                </a:cubicBezTo>
                <a:close/>
                <a:moveTo>
                  <a:pt x="150656" y="1068763"/>
                </a:moveTo>
                <a:cubicBezTo>
                  <a:pt x="150656" y="1098944"/>
                  <a:pt x="126190" y="1123410"/>
                  <a:pt x="96010" y="1123410"/>
                </a:cubicBezTo>
                <a:cubicBezTo>
                  <a:pt x="65829" y="1123410"/>
                  <a:pt x="41363" y="1098944"/>
                  <a:pt x="41363" y="1068763"/>
                </a:cubicBezTo>
                <a:cubicBezTo>
                  <a:pt x="41363" y="1038583"/>
                  <a:pt x="65829" y="1014117"/>
                  <a:pt x="96010" y="1014117"/>
                </a:cubicBezTo>
                <a:cubicBezTo>
                  <a:pt x="126178" y="1014146"/>
                  <a:pt x="150627" y="1038595"/>
                  <a:pt x="150656" y="1068763"/>
                </a:cubicBezTo>
                <a:close/>
              </a:path>
            </a:pathLst>
          </a:custGeom>
          <a:solidFill>
            <a:srgbClr val="007680"/>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84" name="Freeform: Shape 683">
            <a:extLst>
              <a:ext uri="{FF2B5EF4-FFF2-40B4-BE49-F238E27FC236}">
                <a16:creationId xmlns:a16="http://schemas.microsoft.com/office/drawing/2014/main" id="{9DB4179A-1E6D-10BB-AE28-7F196DB6901E}"/>
              </a:ext>
            </a:extLst>
          </p:cNvPr>
          <p:cNvSpPr/>
          <p:nvPr/>
        </p:nvSpPr>
        <p:spPr>
          <a:xfrm rot="5400000">
            <a:off x="4846514" y="5018709"/>
            <a:ext cx="33121" cy="35372"/>
          </a:xfrm>
          <a:custGeom>
            <a:avLst/>
            <a:gdLst>
              <a:gd name="connsiteX0" fmla="*/ 68281 w 66318"/>
              <a:gd name="connsiteY0" fmla="*/ 34141 h 66318"/>
              <a:gd name="connsiteX1" fmla="*/ 34140 w 66318"/>
              <a:gd name="connsiteY1" fmla="*/ 68282 h 66318"/>
              <a:gd name="connsiteX2" fmla="*/ -1 w 66318"/>
              <a:gd name="connsiteY2" fmla="*/ 34141 h 66318"/>
              <a:gd name="connsiteX3" fmla="*/ 34140 w 66318"/>
              <a:gd name="connsiteY3" fmla="*/ 0 h 66318"/>
              <a:gd name="connsiteX4" fmla="*/ 68281 w 66318"/>
              <a:gd name="connsiteY4" fmla="*/ 34141 h 663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318" h="66318">
                <a:moveTo>
                  <a:pt x="68281" y="34141"/>
                </a:moveTo>
                <a:cubicBezTo>
                  <a:pt x="68281" y="52996"/>
                  <a:pt x="52996" y="68282"/>
                  <a:pt x="34140" y="68282"/>
                </a:cubicBezTo>
                <a:cubicBezTo>
                  <a:pt x="15285" y="68282"/>
                  <a:pt x="-1" y="52996"/>
                  <a:pt x="-1" y="34141"/>
                </a:cubicBezTo>
                <a:cubicBezTo>
                  <a:pt x="-1" y="15285"/>
                  <a:pt x="15285" y="0"/>
                  <a:pt x="34140" y="0"/>
                </a:cubicBezTo>
                <a:cubicBezTo>
                  <a:pt x="52996" y="0"/>
                  <a:pt x="68281" y="15285"/>
                  <a:pt x="68281" y="34141"/>
                </a:cubicBezTo>
                <a:close/>
              </a:path>
            </a:pathLst>
          </a:custGeom>
          <a:solidFill>
            <a:srgbClr val="007680"/>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685" name="Rectangle: Rounded Corners 684">
            <a:extLst>
              <a:ext uri="{FF2B5EF4-FFF2-40B4-BE49-F238E27FC236}">
                <a16:creationId xmlns:a16="http://schemas.microsoft.com/office/drawing/2014/main" id="{9E2812E9-AD27-64A0-EA9C-F1E8AF70AE74}"/>
              </a:ext>
            </a:extLst>
          </p:cNvPr>
          <p:cNvSpPr/>
          <p:nvPr/>
        </p:nvSpPr>
        <p:spPr>
          <a:xfrm rot="5400000">
            <a:off x="4407700" y="5074176"/>
            <a:ext cx="910177" cy="972029"/>
          </a:xfrm>
          <a:prstGeom prst="roundRect">
            <a:avLst/>
          </a:prstGeom>
          <a:solidFill>
            <a:srgbClr val="F7F7F7"/>
          </a:solidFill>
          <a:ln w="2653" cap="flat">
            <a:noFill/>
            <a:prstDash val="solid"/>
            <a:miter/>
          </a:ln>
        </p:spPr>
        <p:txBody>
          <a:bodyPr rtlCol="0" anchor="ctr"/>
          <a:lstStyle/>
          <a:p>
            <a:pPr marL="0" marR="0" lvl="0" indent="0" algn="l" defTabSz="720067" rtl="0" eaLnBrk="1" fontAlgn="auto" latinLnBrk="0" hangingPunct="1">
              <a:lnSpc>
                <a:spcPct val="100000"/>
              </a:lnSpc>
              <a:spcBef>
                <a:spcPts val="0"/>
              </a:spcBef>
              <a:spcAft>
                <a:spcPts val="0"/>
              </a:spcAft>
              <a:buClrTx/>
              <a:buSzTx/>
              <a:buFontTx/>
              <a:buNone/>
              <a:tabLst/>
              <a:defRPr/>
            </a:pPr>
            <a:endParaRPr kumimoji="0" lang="en-GB" sz="798" b="0" i="0" u="none" strike="noStrike" kern="0" cap="none" spc="0" normalizeH="0" baseline="0">
              <a:ln>
                <a:noFill/>
              </a:ln>
              <a:effectLst/>
              <a:uLnTx/>
              <a:uFillTx/>
              <a:latin typeface="Calibri" panose="020F0502020204030204"/>
              <a:ea typeface="+mn-ea"/>
              <a:cs typeface="+mn-cs"/>
            </a:endParaRPr>
          </a:p>
        </p:txBody>
      </p:sp>
      <p:sp>
        <p:nvSpPr>
          <p:cNvPr id="736" name="TextBox 735">
            <a:extLst>
              <a:ext uri="{FF2B5EF4-FFF2-40B4-BE49-F238E27FC236}">
                <a16:creationId xmlns:a16="http://schemas.microsoft.com/office/drawing/2014/main" id="{EF0B437A-08AF-D40B-4763-67B99F32DA25}"/>
              </a:ext>
            </a:extLst>
          </p:cNvPr>
          <p:cNvSpPr txBox="1">
            <a:spLocks/>
          </p:cNvSpPr>
          <p:nvPr/>
        </p:nvSpPr>
        <p:spPr>
          <a:xfrm>
            <a:off x="1847859" y="2731612"/>
            <a:ext cx="2014558" cy="646331"/>
          </a:xfrm>
          <a:prstGeom prst="rect">
            <a:avLst/>
          </a:prstGeom>
          <a:noFill/>
        </p:spPr>
        <p:txBody>
          <a:bodyPr wrap="square" lIns="0" tIns="0" rIns="0" bIns="0" rtlCol="0">
            <a:spAutoFit/>
          </a:bodyPr>
          <a:lstStyle/>
          <a:p>
            <a:pPr>
              <a:spcBef>
                <a:spcPts val="600"/>
              </a:spcBef>
              <a:buSzPct val="100000"/>
            </a:pPr>
            <a:r>
              <a:rPr lang="en-GB" sz="1400" b="1" dirty="0">
                <a:solidFill>
                  <a:srgbClr val="313131"/>
                </a:solidFill>
              </a:rPr>
              <a:t>Increased reliance on technology and interconnectivity of systems</a:t>
            </a:r>
          </a:p>
        </p:txBody>
      </p:sp>
      <p:sp>
        <p:nvSpPr>
          <p:cNvPr id="737" name="TextBox 736">
            <a:extLst>
              <a:ext uri="{FF2B5EF4-FFF2-40B4-BE49-F238E27FC236}">
                <a16:creationId xmlns:a16="http://schemas.microsoft.com/office/drawing/2014/main" id="{1DB50648-5CEB-D6D5-8380-C07D44832D62}"/>
              </a:ext>
            </a:extLst>
          </p:cNvPr>
          <p:cNvSpPr txBox="1">
            <a:spLocks/>
          </p:cNvSpPr>
          <p:nvPr/>
        </p:nvSpPr>
        <p:spPr>
          <a:xfrm>
            <a:off x="1847859" y="4086058"/>
            <a:ext cx="2014558" cy="430887"/>
          </a:xfrm>
          <a:prstGeom prst="rect">
            <a:avLst/>
          </a:prstGeom>
          <a:noFill/>
        </p:spPr>
        <p:txBody>
          <a:bodyPr wrap="square" lIns="0" tIns="0" rIns="0" bIns="0" rtlCol="0">
            <a:spAutoFit/>
          </a:bodyPr>
          <a:lstStyle/>
          <a:p>
            <a:pPr>
              <a:spcBef>
                <a:spcPts val="600"/>
              </a:spcBef>
              <a:buSzPct val="100000"/>
            </a:pPr>
            <a:r>
              <a:rPr lang="en-GB" sz="1400" b="1" dirty="0">
                <a:solidFill>
                  <a:srgbClr val="313131"/>
                </a:solidFill>
              </a:rPr>
              <a:t>Increased reliance on critical third parties</a:t>
            </a:r>
          </a:p>
        </p:txBody>
      </p:sp>
      <p:sp>
        <p:nvSpPr>
          <p:cNvPr id="738" name="TextBox 737">
            <a:extLst>
              <a:ext uri="{FF2B5EF4-FFF2-40B4-BE49-F238E27FC236}">
                <a16:creationId xmlns:a16="http://schemas.microsoft.com/office/drawing/2014/main" id="{F243DECE-5980-DF1A-988A-5A616D6965DF}"/>
              </a:ext>
            </a:extLst>
          </p:cNvPr>
          <p:cNvSpPr txBox="1">
            <a:spLocks/>
          </p:cNvSpPr>
          <p:nvPr/>
        </p:nvSpPr>
        <p:spPr>
          <a:xfrm>
            <a:off x="1847859" y="5187432"/>
            <a:ext cx="2014558" cy="646331"/>
          </a:xfrm>
          <a:prstGeom prst="rect">
            <a:avLst/>
          </a:prstGeom>
          <a:noFill/>
        </p:spPr>
        <p:txBody>
          <a:bodyPr wrap="square" lIns="0" tIns="0" rIns="0" bIns="0" rtlCol="0">
            <a:spAutoFit/>
          </a:bodyPr>
          <a:lstStyle/>
          <a:p>
            <a:pPr>
              <a:spcBef>
                <a:spcPts val="600"/>
              </a:spcBef>
              <a:buSzPct val="100000"/>
            </a:pPr>
            <a:r>
              <a:rPr lang="en-GB" sz="1400" b="1" dirty="0">
                <a:solidFill>
                  <a:srgbClr val="313131"/>
                </a:solidFill>
              </a:rPr>
              <a:t>Complex range of interdependent legacy and emergent technologies</a:t>
            </a:r>
          </a:p>
        </p:txBody>
      </p:sp>
      <p:sp>
        <p:nvSpPr>
          <p:cNvPr id="739" name="TextBox 738">
            <a:extLst>
              <a:ext uri="{FF2B5EF4-FFF2-40B4-BE49-F238E27FC236}">
                <a16:creationId xmlns:a16="http://schemas.microsoft.com/office/drawing/2014/main" id="{60E273D5-8CF9-7130-6EEF-E1A9A7F4016A}"/>
              </a:ext>
            </a:extLst>
          </p:cNvPr>
          <p:cNvSpPr txBox="1">
            <a:spLocks/>
          </p:cNvSpPr>
          <p:nvPr/>
        </p:nvSpPr>
        <p:spPr>
          <a:xfrm>
            <a:off x="5528170" y="2841546"/>
            <a:ext cx="2014558" cy="430887"/>
          </a:xfrm>
          <a:prstGeom prst="rect">
            <a:avLst/>
          </a:prstGeom>
          <a:noFill/>
        </p:spPr>
        <p:txBody>
          <a:bodyPr wrap="square" lIns="0" tIns="0" rIns="0" bIns="0" rtlCol="0">
            <a:spAutoFit/>
          </a:bodyPr>
          <a:lstStyle/>
          <a:p>
            <a:pPr>
              <a:spcBef>
                <a:spcPts val="600"/>
              </a:spcBef>
              <a:buSzPct val="100000"/>
            </a:pPr>
            <a:r>
              <a:rPr lang="en-GB" sz="1400" b="1" dirty="0">
                <a:solidFill>
                  <a:srgbClr val="313131"/>
                </a:solidFill>
              </a:rPr>
              <a:t>Accelerated digital transformation</a:t>
            </a:r>
          </a:p>
        </p:txBody>
      </p:sp>
      <p:sp>
        <p:nvSpPr>
          <p:cNvPr id="740" name="TextBox 739">
            <a:extLst>
              <a:ext uri="{FF2B5EF4-FFF2-40B4-BE49-F238E27FC236}">
                <a16:creationId xmlns:a16="http://schemas.microsoft.com/office/drawing/2014/main" id="{D5B60BDC-3E51-5868-2FC9-8866619E5B88}"/>
              </a:ext>
            </a:extLst>
          </p:cNvPr>
          <p:cNvSpPr txBox="1">
            <a:spLocks/>
          </p:cNvSpPr>
          <p:nvPr/>
        </p:nvSpPr>
        <p:spPr>
          <a:xfrm>
            <a:off x="5532439" y="4157408"/>
            <a:ext cx="2014558" cy="215444"/>
          </a:xfrm>
          <a:prstGeom prst="rect">
            <a:avLst/>
          </a:prstGeom>
          <a:noFill/>
        </p:spPr>
        <p:txBody>
          <a:bodyPr wrap="square" lIns="0" tIns="0" rIns="0" bIns="0" rtlCol="0">
            <a:spAutoFit/>
          </a:bodyPr>
          <a:lstStyle/>
          <a:p>
            <a:pPr>
              <a:spcBef>
                <a:spcPts val="600"/>
              </a:spcBef>
              <a:buSzPct val="100000"/>
            </a:pPr>
            <a:r>
              <a:rPr lang="en-GB" sz="1400" b="1" dirty="0">
                <a:solidFill>
                  <a:srgbClr val="313131"/>
                </a:solidFill>
              </a:rPr>
              <a:t>Geopolitical uncertainty</a:t>
            </a:r>
          </a:p>
        </p:txBody>
      </p:sp>
      <p:sp>
        <p:nvSpPr>
          <p:cNvPr id="741" name="TextBox 740">
            <a:extLst>
              <a:ext uri="{FF2B5EF4-FFF2-40B4-BE49-F238E27FC236}">
                <a16:creationId xmlns:a16="http://schemas.microsoft.com/office/drawing/2014/main" id="{9A2180EF-2C68-408B-BCBD-B4418B5E5B31}"/>
              </a:ext>
            </a:extLst>
          </p:cNvPr>
          <p:cNvSpPr txBox="1">
            <a:spLocks/>
          </p:cNvSpPr>
          <p:nvPr/>
        </p:nvSpPr>
        <p:spPr>
          <a:xfrm>
            <a:off x="5538615" y="5247233"/>
            <a:ext cx="2014558" cy="430887"/>
          </a:xfrm>
          <a:prstGeom prst="rect">
            <a:avLst/>
          </a:prstGeom>
          <a:noFill/>
        </p:spPr>
        <p:txBody>
          <a:bodyPr wrap="square" lIns="0" tIns="0" rIns="0" bIns="0" rtlCol="0">
            <a:spAutoFit/>
          </a:bodyPr>
          <a:lstStyle/>
          <a:p>
            <a:pPr>
              <a:spcBef>
                <a:spcPts val="600"/>
              </a:spcBef>
              <a:buSzPct val="100000"/>
            </a:pPr>
            <a:r>
              <a:rPr lang="en-GB" sz="1400" b="1" dirty="0">
                <a:solidFill>
                  <a:srgbClr val="313131"/>
                </a:solidFill>
              </a:rPr>
              <a:t>Increased scrutiny from regulators</a:t>
            </a:r>
          </a:p>
        </p:txBody>
      </p:sp>
      <p:grpSp>
        <p:nvGrpSpPr>
          <p:cNvPr id="745" name="Group 744">
            <a:extLst>
              <a:ext uri="{FF2B5EF4-FFF2-40B4-BE49-F238E27FC236}">
                <a16:creationId xmlns:a16="http://schemas.microsoft.com/office/drawing/2014/main" id="{C71D3DCC-42C6-7375-2F68-A74133E47FAD}"/>
              </a:ext>
            </a:extLst>
          </p:cNvPr>
          <p:cNvGrpSpPr/>
          <p:nvPr/>
        </p:nvGrpSpPr>
        <p:grpSpPr>
          <a:xfrm>
            <a:off x="4534865" y="5285644"/>
            <a:ext cx="643388" cy="492785"/>
            <a:chOff x="8086721" y="2541586"/>
            <a:chExt cx="1049354" cy="809624"/>
          </a:xfrm>
          <a:solidFill>
            <a:srgbClr val="007680"/>
          </a:solidFill>
        </p:grpSpPr>
        <p:sp>
          <p:nvSpPr>
            <p:cNvPr id="746" name="Freeform 441">
              <a:extLst>
                <a:ext uri="{FF2B5EF4-FFF2-40B4-BE49-F238E27FC236}">
                  <a16:creationId xmlns:a16="http://schemas.microsoft.com/office/drawing/2014/main" id="{C18B07D0-3B83-7662-3A2C-DBFF18AE670B}"/>
                </a:ext>
              </a:extLst>
            </p:cNvPr>
            <p:cNvSpPr>
              <a:spLocks/>
            </p:cNvSpPr>
            <p:nvPr/>
          </p:nvSpPr>
          <p:spPr bwMode="auto">
            <a:xfrm>
              <a:off x="8569335" y="2541586"/>
              <a:ext cx="282575" cy="287336"/>
            </a:xfrm>
            <a:custGeom>
              <a:avLst/>
              <a:gdLst>
                <a:gd name="T0" fmla="*/ 47 w 57"/>
                <a:gd name="T1" fmla="*/ 58 h 58"/>
                <a:gd name="T2" fmla="*/ 52 w 57"/>
                <a:gd name="T3" fmla="*/ 53 h 58"/>
                <a:gd name="T4" fmla="*/ 52 w 57"/>
                <a:gd name="T5" fmla="*/ 33 h 58"/>
                <a:gd name="T6" fmla="*/ 25 w 57"/>
                <a:gd name="T7" fmla="*/ 6 h 58"/>
                <a:gd name="T8" fmla="*/ 5 w 57"/>
                <a:gd name="T9" fmla="*/ 6 h 58"/>
                <a:gd name="T10" fmla="*/ 0 w 57"/>
                <a:gd name="T11" fmla="*/ 11 h 58"/>
                <a:gd name="T12" fmla="*/ 47 w 57"/>
                <a:gd name="T13" fmla="*/ 58 h 58"/>
              </a:gdLst>
              <a:ahLst/>
              <a:cxnLst>
                <a:cxn ang="0">
                  <a:pos x="T0" y="T1"/>
                </a:cxn>
                <a:cxn ang="0">
                  <a:pos x="T2" y="T3"/>
                </a:cxn>
                <a:cxn ang="0">
                  <a:pos x="T4" y="T5"/>
                </a:cxn>
                <a:cxn ang="0">
                  <a:pos x="T6" y="T7"/>
                </a:cxn>
                <a:cxn ang="0">
                  <a:pos x="T8" y="T9"/>
                </a:cxn>
                <a:cxn ang="0">
                  <a:pos x="T10" y="T11"/>
                </a:cxn>
                <a:cxn ang="0">
                  <a:pos x="T12" y="T13"/>
                </a:cxn>
              </a:cxnLst>
              <a:rect l="0" t="0" r="r" b="b"/>
              <a:pathLst>
                <a:path w="57" h="58">
                  <a:moveTo>
                    <a:pt x="47" y="58"/>
                  </a:moveTo>
                  <a:cubicBezTo>
                    <a:pt x="52" y="53"/>
                    <a:pt x="52" y="53"/>
                    <a:pt x="52" y="53"/>
                  </a:cubicBezTo>
                  <a:cubicBezTo>
                    <a:pt x="57" y="47"/>
                    <a:pt x="57" y="38"/>
                    <a:pt x="52" y="33"/>
                  </a:cubicBezTo>
                  <a:cubicBezTo>
                    <a:pt x="25" y="6"/>
                    <a:pt x="25" y="6"/>
                    <a:pt x="25" y="6"/>
                  </a:cubicBezTo>
                  <a:cubicBezTo>
                    <a:pt x="19" y="0"/>
                    <a:pt x="11" y="0"/>
                    <a:pt x="5" y="6"/>
                  </a:cubicBezTo>
                  <a:cubicBezTo>
                    <a:pt x="0" y="11"/>
                    <a:pt x="0" y="11"/>
                    <a:pt x="0" y="11"/>
                  </a:cubicBezTo>
                  <a:lnTo>
                    <a:pt x="47" y="58"/>
                  </a:lnTo>
                  <a:close/>
                </a:path>
              </a:pathLst>
            </a:custGeom>
            <a:grpFill/>
            <a:ln>
              <a:noFill/>
            </a:ln>
          </p:spPr>
          <p:txBody>
            <a:bodyPr vert="horz" wrap="square" lIns="57619" tIns="28809" rIns="57619" bIns="28809" numCol="1" anchor="t" anchorCtr="0" compatLnSpc="1">
              <a:prstTxWarp prst="textNoShape">
                <a:avLst/>
              </a:prstTxWarp>
            </a:bodyPr>
            <a:lstStyle/>
            <a:p>
              <a:pPr marL="0" marR="0" lvl="0" indent="0" algn="l" defTabSz="653156" rtl="0" eaLnBrk="1" fontAlgn="base" latinLnBrk="0" hangingPunct="1">
                <a:lnSpc>
                  <a:spcPct val="100000"/>
                </a:lnSpc>
                <a:spcBef>
                  <a:spcPct val="0"/>
                </a:spcBef>
                <a:spcAft>
                  <a:spcPct val="0"/>
                </a:spcAft>
                <a:buClrTx/>
                <a:buSzTx/>
                <a:buFontTx/>
                <a:buNone/>
                <a:tabLst/>
                <a:defRPr/>
              </a:pPr>
              <a:endParaRPr kumimoji="0" lang="en-GB" sz="1260" b="0" i="0" u="none" strike="noStrike" kern="1200" cap="none" spc="0" normalizeH="0" baseline="0" noProof="0" dirty="0">
                <a:ln>
                  <a:noFill/>
                </a:ln>
                <a:effectLst/>
                <a:uLnTx/>
                <a:uFillTx/>
                <a:latin typeface="Calibri"/>
                <a:ea typeface="+mn-ea"/>
                <a:cs typeface="Arial" charset="0"/>
              </a:endParaRPr>
            </a:p>
          </p:txBody>
        </p:sp>
        <p:sp>
          <p:nvSpPr>
            <p:cNvPr id="747" name="Freeform 442">
              <a:extLst>
                <a:ext uri="{FF2B5EF4-FFF2-40B4-BE49-F238E27FC236}">
                  <a16:creationId xmlns:a16="http://schemas.microsoft.com/office/drawing/2014/main" id="{21FEF4C5-1CBD-D9C4-D4C4-10BC190FBA47}"/>
                </a:ext>
              </a:extLst>
            </p:cNvPr>
            <p:cNvSpPr>
              <a:spLocks/>
            </p:cNvSpPr>
            <p:nvPr/>
          </p:nvSpPr>
          <p:spPr bwMode="auto">
            <a:xfrm>
              <a:off x="8415347" y="2630483"/>
              <a:ext cx="352425" cy="352424"/>
            </a:xfrm>
            <a:custGeom>
              <a:avLst/>
              <a:gdLst>
                <a:gd name="T0" fmla="*/ 147 w 222"/>
                <a:gd name="T1" fmla="*/ 222 h 222"/>
                <a:gd name="T2" fmla="*/ 222 w 222"/>
                <a:gd name="T3" fmla="*/ 144 h 222"/>
                <a:gd name="T4" fmla="*/ 75 w 222"/>
                <a:gd name="T5" fmla="*/ 0 h 222"/>
                <a:gd name="T6" fmla="*/ 0 w 222"/>
                <a:gd name="T7" fmla="*/ 75 h 222"/>
                <a:gd name="T8" fmla="*/ 147 w 222"/>
                <a:gd name="T9" fmla="*/ 222 h 222"/>
              </a:gdLst>
              <a:ahLst/>
              <a:cxnLst>
                <a:cxn ang="0">
                  <a:pos x="T0" y="T1"/>
                </a:cxn>
                <a:cxn ang="0">
                  <a:pos x="T2" y="T3"/>
                </a:cxn>
                <a:cxn ang="0">
                  <a:pos x="T4" y="T5"/>
                </a:cxn>
                <a:cxn ang="0">
                  <a:pos x="T6" y="T7"/>
                </a:cxn>
                <a:cxn ang="0">
                  <a:pos x="T8" y="T9"/>
                </a:cxn>
              </a:cxnLst>
              <a:rect l="0" t="0" r="r" b="b"/>
              <a:pathLst>
                <a:path w="222" h="222">
                  <a:moveTo>
                    <a:pt x="147" y="222"/>
                  </a:moveTo>
                  <a:lnTo>
                    <a:pt x="222" y="144"/>
                  </a:lnTo>
                  <a:lnTo>
                    <a:pt x="75" y="0"/>
                  </a:lnTo>
                  <a:lnTo>
                    <a:pt x="0" y="75"/>
                  </a:lnTo>
                  <a:lnTo>
                    <a:pt x="147" y="222"/>
                  </a:lnTo>
                  <a:close/>
                </a:path>
              </a:pathLst>
            </a:custGeom>
            <a:grpFill/>
            <a:ln>
              <a:noFill/>
            </a:ln>
          </p:spPr>
          <p:txBody>
            <a:bodyPr vert="horz" wrap="square" lIns="57619" tIns="28809" rIns="57619" bIns="28809" numCol="1" anchor="t" anchorCtr="0" compatLnSpc="1">
              <a:prstTxWarp prst="textNoShape">
                <a:avLst/>
              </a:prstTxWarp>
            </a:bodyPr>
            <a:lstStyle/>
            <a:p>
              <a:pPr marL="0" marR="0" lvl="0" indent="0" algn="l" defTabSz="653156" rtl="0" eaLnBrk="1" fontAlgn="base" latinLnBrk="0" hangingPunct="1">
                <a:lnSpc>
                  <a:spcPct val="100000"/>
                </a:lnSpc>
                <a:spcBef>
                  <a:spcPct val="0"/>
                </a:spcBef>
                <a:spcAft>
                  <a:spcPct val="0"/>
                </a:spcAft>
                <a:buClrTx/>
                <a:buSzTx/>
                <a:buFontTx/>
                <a:buNone/>
                <a:tabLst/>
                <a:defRPr/>
              </a:pPr>
              <a:endParaRPr kumimoji="0" lang="en-GB" sz="1260" b="0" i="0" u="none" strike="noStrike" kern="1200" cap="none" spc="0" normalizeH="0" baseline="0" noProof="0" dirty="0">
                <a:ln>
                  <a:noFill/>
                </a:ln>
                <a:effectLst/>
                <a:uLnTx/>
                <a:uFillTx/>
                <a:latin typeface="Calibri"/>
                <a:ea typeface="+mn-ea"/>
                <a:cs typeface="Arial" charset="0"/>
              </a:endParaRPr>
            </a:p>
          </p:txBody>
        </p:sp>
        <p:sp>
          <p:nvSpPr>
            <p:cNvPr id="748" name="Freeform 443">
              <a:extLst>
                <a:ext uri="{FF2B5EF4-FFF2-40B4-BE49-F238E27FC236}">
                  <a16:creationId xmlns:a16="http://schemas.microsoft.com/office/drawing/2014/main" id="{36B8EE05-586A-3097-D525-A54C9A035EBA}"/>
                </a:ext>
              </a:extLst>
            </p:cNvPr>
            <p:cNvSpPr>
              <a:spLocks/>
            </p:cNvSpPr>
            <p:nvPr/>
          </p:nvSpPr>
          <p:spPr bwMode="auto">
            <a:xfrm>
              <a:off x="8324860" y="2784471"/>
              <a:ext cx="288924" cy="284162"/>
            </a:xfrm>
            <a:custGeom>
              <a:avLst/>
              <a:gdLst>
                <a:gd name="T0" fmla="*/ 11 w 58"/>
                <a:gd name="T1" fmla="*/ 0 h 57"/>
                <a:gd name="T2" fmla="*/ 6 w 58"/>
                <a:gd name="T3" fmla="*/ 5 h 57"/>
                <a:gd name="T4" fmla="*/ 6 w 58"/>
                <a:gd name="T5" fmla="*/ 25 h 57"/>
                <a:gd name="T6" fmla="*/ 33 w 58"/>
                <a:gd name="T7" fmla="*/ 52 h 57"/>
                <a:gd name="T8" fmla="*/ 53 w 58"/>
                <a:gd name="T9" fmla="*/ 52 h 57"/>
                <a:gd name="T10" fmla="*/ 58 w 58"/>
                <a:gd name="T11" fmla="*/ 47 h 57"/>
                <a:gd name="T12" fmla="*/ 11 w 58"/>
                <a:gd name="T13" fmla="*/ 0 h 57"/>
              </a:gdLst>
              <a:ahLst/>
              <a:cxnLst>
                <a:cxn ang="0">
                  <a:pos x="T0" y="T1"/>
                </a:cxn>
                <a:cxn ang="0">
                  <a:pos x="T2" y="T3"/>
                </a:cxn>
                <a:cxn ang="0">
                  <a:pos x="T4" y="T5"/>
                </a:cxn>
                <a:cxn ang="0">
                  <a:pos x="T6" y="T7"/>
                </a:cxn>
                <a:cxn ang="0">
                  <a:pos x="T8" y="T9"/>
                </a:cxn>
                <a:cxn ang="0">
                  <a:pos x="T10" y="T11"/>
                </a:cxn>
                <a:cxn ang="0">
                  <a:pos x="T12" y="T13"/>
                </a:cxn>
              </a:cxnLst>
              <a:rect l="0" t="0" r="r" b="b"/>
              <a:pathLst>
                <a:path w="58" h="57">
                  <a:moveTo>
                    <a:pt x="11" y="0"/>
                  </a:moveTo>
                  <a:cubicBezTo>
                    <a:pt x="6" y="5"/>
                    <a:pt x="6" y="5"/>
                    <a:pt x="6" y="5"/>
                  </a:cubicBezTo>
                  <a:cubicBezTo>
                    <a:pt x="0" y="11"/>
                    <a:pt x="0" y="19"/>
                    <a:pt x="6" y="25"/>
                  </a:cubicBezTo>
                  <a:cubicBezTo>
                    <a:pt x="33" y="52"/>
                    <a:pt x="33" y="52"/>
                    <a:pt x="33" y="52"/>
                  </a:cubicBezTo>
                  <a:cubicBezTo>
                    <a:pt x="38" y="57"/>
                    <a:pt x="47" y="57"/>
                    <a:pt x="53" y="52"/>
                  </a:cubicBezTo>
                  <a:cubicBezTo>
                    <a:pt x="58" y="47"/>
                    <a:pt x="58" y="47"/>
                    <a:pt x="58" y="47"/>
                  </a:cubicBezTo>
                  <a:lnTo>
                    <a:pt x="11" y="0"/>
                  </a:lnTo>
                  <a:close/>
                </a:path>
              </a:pathLst>
            </a:custGeom>
            <a:grpFill/>
            <a:ln>
              <a:noFill/>
            </a:ln>
          </p:spPr>
          <p:txBody>
            <a:bodyPr vert="horz" wrap="square" lIns="57619" tIns="28809" rIns="57619" bIns="28809" numCol="1" anchor="t" anchorCtr="0" compatLnSpc="1">
              <a:prstTxWarp prst="textNoShape">
                <a:avLst/>
              </a:prstTxWarp>
            </a:bodyPr>
            <a:lstStyle/>
            <a:p>
              <a:pPr marL="0" marR="0" lvl="0" indent="0" algn="l" defTabSz="653156" rtl="0" eaLnBrk="1" fontAlgn="base" latinLnBrk="0" hangingPunct="1">
                <a:lnSpc>
                  <a:spcPct val="100000"/>
                </a:lnSpc>
                <a:spcBef>
                  <a:spcPct val="0"/>
                </a:spcBef>
                <a:spcAft>
                  <a:spcPct val="0"/>
                </a:spcAft>
                <a:buClrTx/>
                <a:buSzTx/>
                <a:buFontTx/>
                <a:buNone/>
                <a:tabLst/>
                <a:defRPr/>
              </a:pPr>
              <a:endParaRPr kumimoji="0" lang="en-GB" sz="1260" b="0" i="0" u="none" strike="noStrike" kern="1200" cap="none" spc="0" normalizeH="0" baseline="0" noProof="0" dirty="0">
                <a:ln>
                  <a:noFill/>
                </a:ln>
                <a:effectLst/>
                <a:uLnTx/>
                <a:uFillTx/>
                <a:latin typeface="Calibri"/>
                <a:ea typeface="+mn-ea"/>
                <a:cs typeface="Arial" charset="0"/>
              </a:endParaRPr>
            </a:p>
          </p:txBody>
        </p:sp>
        <p:sp>
          <p:nvSpPr>
            <p:cNvPr id="749" name="Freeform 444">
              <a:extLst>
                <a:ext uri="{FF2B5EF4-FFF2-40B4-BE49-F238E27FC236}">
                  <a16:creationId xmlns:a16="http://schemas.microsoft.com/office/drawing/2014/main" id="{07BB7C7D-51B7-ED40-5953-AA120E8146D5}"/>
                </a:ext>
              </a:extLst>
            </p:cNvPr>
            <p:cNvSpPr>
              <a:spLocks/>
            </p:cNvSpPr>
            <p:nvPr/>
          </p:nvSpPr>
          <p:spPr bwMode="auto">
            <a:xfrm>
              <a:off x="8802699" y="3017835"/>
              <a:ext cx="333376" cy="333375"/>
            </a:xfrm>
            <a:custGeom>
              <a:avLst/>
              <a:gdLst>
                <a:gd name="T0" fmla="*/ 64 w 67"/>
                <a:gd name="T1" fmla="*/ 47 h 67"/>
                <a:gd name="T2" fmla="*/ 17 w 67"/>
                <a:gd name="T3" fmla="*/ 0 h 67"/>
                <a:gd name="T4" fmla="*/ 0 w 67"/>
                <a:gd name="T5" fmla="*/ 17 h 67"/>
                <a:gd name="T6" fmla="*/ 47 w 67"/>
                <a:gd name="T7" fmla="*/ 64 h 67"/>
                <a:gd name="T8" fmla="*/ 55 w 67"/>
                <a:gd name="T9" fmla="*/ 64 h 67"/>
                <a:gd name="T10" fmla="*/ 64 w 67"/>
                <a:gd name="T11" fmla="*/ 55 h 67"/>
                <a:gd name="T12" fmla="*/ 64 w 67"/>
                <a:gd name="T13" fmla="*/ 47 h 67"/>
              </a:gdLst>
              <a:ahLst/>
              <a:cxnLst>
                <a:cxn ang="0">
                  <a:pos x="T0" y="T1"/>
                </a:cxn>
                <a:cxn ang="0">
                  <a:pos x="T2" y="T3"/>
                </a:cxn>
                <a:cxn ang="0">
                  <a:pos x="T4" y="T5"/>
                </a:cxn>
                <a:cxn ang="0">
                  <a:pos x="T6" y="T7"/>
                </a:cxn>
                <a:cxn ang="0">
                  <a:pos x="T8" y="T9"/>
                </a:cxn>
                <a:cxn ang="0">
                  <a:pos x="T10" y="T11"/>
                </a:cxn>
                <a:cxn ang="0">
                  <a:pos x="T12" y="T13"/>
                </a:cxn>
              </a:cxnLst>
              <a:rect l="0" t="0" r="r" b="b"/>
              <a:pathLst>
                <a:path w="67" h="67">
                  <a:moveTo>
                    <a:pt x="64" y="47"/>
                  </a:moveTo>
                  <a:cubicBezTo>
                    <a:pt x="17" y="0"/>
                    <a:pt x="17" y="0"/>
                    <a:pt x="17" y="0"/>
                  </a:cubicBezTo>
                  <a:cubicBezTo>
                    <a:pt x="0" y="17"/>
                    <a:pt x="0" y="17"/>
                    <a:pt x="0" y="17"/>
                  </a:cubicBezTo>
                  <a:cubicBezTo>
                    <a:pt x="47" y="64"/>
                    <a:pt x="47" y="64"/>
                    <a:pt x="47" y="64"/>
                  </a:cubicBezTo>
                  <a:cubicBezTo>
                    <a:pt x="49" y="67"/>
                    <a:pt x="53" y="67"/>
                    <a:pt x="55" y="64"/>
                  </a:cubicBezTo>
                  <a:cubicBezTo>
                    <a:pt x="64" y="55"/>
                    <a:pt x="64" y="55"/>
                    <a:pt x="64" y="55"/>
                  </a:cubicBezTo>
                  <a:cubicBezTo>
                    <a:pt x="67" y="53"/>
                    <a:pt x="67" y="49"/>
                    <a:pt x="64" y="47"/>
                  </a:cubicBezTo>
                  <a:close/>
                </a:path>
              </a:pathLst>
            </a:custGeom>
            <a:grpFill/>
            <a:ln>
              <a:noFill/>
            </a:ln>
          </p:spPr>
          <p:txBody>
            <a:bodyPr vert="horz" wrap="square" lIns="57619" tIns="28809" rIns="57619" bIns="28809" numCol="1" anchor="t" anchorCtr="0" compatLnSpc="1">
              <a:prstTxWarp prst="textNoShape">
                <a:avLst/>
              </a:prstTxWarp>
            </a:bodyPr>
            <a:lstStyle/>
            <a:p>
              <a:pPr marL="0" marR="0" lvl="0" indent="0" algn="l" defTabSz="653156" rtl="0" eaLnBrk="1" fontAlgn="base" latinLnBrk="0" hangingPunct="1">
                <a:lnSpc>
                  <a:spcPct val="100000"/>
                </a:lnSpc>
                <a:spcBef>
                  <a:spcPct val="0"/>
                </a:spcBef>
                <a:spcAft>
                  <a:spcPct val="0"/>
                </a:spcAft>
                <a:buClrTx/>
                <a:buSzTx/>
                <a:buFontTx/>
                <a:buNone/>
                <a:tabLst/>
                <a:defRPr/>
              </a:pPr>
              <a:endParaRPr kumimoji="0" lang="en-GB" sz="1260" b="0" i="0" u="none" strike="noStrike" kern="1200" cap="none" spc="0" normalizeH="0" baseline="0" noProof="0" dirty="0">
                <a:ln>
                  <a:noFill/>
                </a:ln>
                <a:effectLst/>
                <a:uLnTx/>
                <a:uFillTx/>
                <a:latin typeface="Calibri"/>
                <a:ea typeface="+mn-ea"/>
                <a:cs typeface="Arial" charset="0"/>
              </a:endParaRPr>
            </a:p>
          </p:txBody>
        </p:sp>
        <p:sp>
          <p:nvSpPr>
            <p:cNvPr id="750" name="Freeform 445">
              <a:extLst>
                <a:ext uri="{FF2B5EF4-FFF2-40B4-BE49-F238E27FC236}">
                  <a16:creationId xmlns:a16="http://schemas.microsoft.com/office/drawing/2014/main" id="{6FC72699-FFCE-BA20-00CC-51D29F7AADBE}"/>
                </a:ext>
              </a:extLst>
            </p:cNvPr>
            <p:cNvSpPr>
              <a:spLocks/>
            </p:cNvSpPr>
            <p:nvPr/>
          </p:nvSpPr>
          <p:spPr bwMode="auto">
            <a:xfrm>
              <a:off x="8709032" y="2924175"/>
              <a:ext cx="133350" cy="133350"/>
            </a:xfrm>
            <a:custGeom>
              <a:avLst/>
              <a:gdLst>
                <a:gd name="T0" fmla="*/ 0 w 84"/>
                <a:gd name="T1" fmla="*/ 34 h 84"/>
                <a:gd name="T2" fmla="*/ 53 w 84"/>
                <a:gd name="T3" fmla="*/ 84 h 84"/>
                <a:gd name="T4" fmla="*/ 84 w 84"/>
                <a:gd name="T5" fmla="*/ 53 h 84"/>
                <a:gd name="T6" fmla="*/ 34 w 84"/>
                <a:gd name="T7" fmla="*/ 0 h 84"/>
                <a:gd name="T8" fmla="*/ 0 w 84"/>
                <a:gd name="T9" fmla="*/ 34 h 84"/>
              </a:gdLst>
              <a:ahLst/>
              <a:cxnLst>
                <a:cxn ang="0">
                  <a:pos x="T0" y="T1"/>
                </a:cxn>
                <a:cxn ang="0">
                  <a:pos x="T2" y="T3"/>
                </a:cxn>
                <a:cxn ang="0">
                  <a:pos x="T4" y="T5"/>
                </a:cxn>
                <a:cxn ang="0">
                  <a:pos x="T6" y="T7"/>
                </a:cxn>
                <a:cxn ang="0">
                  <a:pos x="T8" y="T9"/>
                </a:cxn>
              </a:cxnLst>
              <a:rect l="0" t="0" r="r" b="b"/>
              <a:pathLst>
                <a:path w="84" h="84">
                  <a:moveTo>
                    <a:pt x="0" y="34"/>
                  </a:moveTo>
                  <a:lnTo>
                    <a:pt x="53" y="84"/>
                  </a:lnTo>
                  <a:lnTo>
                    <a:pt x="84" y="53"/>
                  </a:lnTo>
                  <a:lnTo>
                    <a:pt x="34" y="0"/>
                  </a:lnTo>
                  <a:lnTo>
                    <a:pt x="0" y="34"/>
                  </a:lnTo>
                  <a:close/>
                </a:path>
              </a:pathLst>
            </a:custGeom>
            <a:grpFill/>
            <a:ln>
              <a:noFill/>
            </a:ln>
          </p:spPr>
          <p:txBody>
            <a:bodyPr vert="horz" wrap="square" lIns="57619" tIns="28809" rIns="57619" bIns="28809" numCol="1" anchor="t" anchorCtr="0" compatLnSpc="1">
              <a:prstTxWarp prst="textNoShape">
                <a:avLst/>
              </a:prstTxWarp>
            </a:bodyPr>
            <a:lstStyle/>
            <a:p>
              <a:pPr marL="0" marR="0" lvl="0" indent="0" algn="l" defTabSz="653156" rtl="0" eaLnBrk="1" fontAlgn="base" latinLnBrk="0" hangingPunct="1">
                <a:lnSpc>
                  <a:spcPct val="100000"/>
                </a:lnSpc>
                <a:spcBef>
                  <a:spcPct val="0"/>
                </a:spcBef>
                <a:spcAft>
                  <a:spcPct val="0"/>
                </a:spcAft>
                <a:buClrTx/>
                <a:buSzTx/>
                <a:buFontTx/>
                <a:buNone/>
                <a:tabLst/>
                <a:defRPr/>
              </a:pPr>
              <a:endParaRPr kumimoji="0" lang="en-GB" sz="1260" b="0" i="0" u="none" strike="noStrike" kern="1200" cap="none" spc="0" normalizeH="0" baseline="0" noProof="0" dirty="0">
                <a:ln>
                  <a:noFill/>
                </a:ln>
                <a:effectLst/>
                <a:uLnTx/>
                <a:uFillTx/>
                <a:latin typeface="Calibri"/>
                <a:ea typeface="+mn-ea"/>
                <a:cs typeface="Arial" charset="0"/>
              </a:endParaRPr>
            </a:p>
          </p:txBody>
        </p:sp>
        <p:sp>
          <p:nvSpPr>
            <p:cNvPr id="751" name="Freeform 446">
              <a:extLst>
                <a:ext uri="{FF2B5EF4-FFF2-40B4-BE49-F238E27FC236}">
                  <a16:creationId xmlns:a16="http://schemas.microsoft.com/office/drawing/2014/main" id="{9D4BEC76-7A55-AF7D-7B9D-A6B228CA90AD}"/>
                </a:ext>
              </a:extLst>
            </p:cNvPr>
            <p:cNvSpPr>
              <a:spLocks/>
            </p:cNvSpPr>
            <p:nvPr/>
          </p:nvSpPr>
          <p:spPr bwMode="auto">
            <a:xfrm>
              <a:off x="8221668" y="3271836"/>
              <a:ext cx="452439" cy="69851"/>
            </a:xfrm>
            <a:custGeom>
              <a:avLst/>
              <a:gdLst>
                <a:gd name="T0" fmla="*/ 91 w 91"/>
                <a:gd name="T1" fmla="*/ 14 h 14"/>
                <a:gd name="T2" fmla="*/ 91 w 91"/>
                <a:gd name="T3" fmla="*/ 13 h 14"/>
                <a:gd name="T4" fmla="*/ 78 w 91"/>
                <a:gd name="T5" fmla="*/ 0 h 14"/>
                <a:gd name="T6" fmla="*/ 12 w 91"/>
                <a:gd name="T7" fmla="*/ 0 h 14"/>
                <a:gd name="T8" fmla="*/ 0 w 91"/>
                <a:gd name="T9" fmla="*/ 13 h 14"/>
                <a:gd name="T10" fmla="*/ 0 w 91"/>
                <a:gd name="T11" fmla="*/ 14 h 14"/>
                <a:gd name="T12" fmla="*/ 91 w 91"/>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91" h="14">
                  <a:moveTo>
                    <a:pt x="91" y="14"/>
                  </a:moveTo>
                  <a:cubicBezTo>
                    <a:pt x="91" y="13"/>
                    <a:pt x="91" y="13"/>
                    <a:pt x="91" y="13"/>
                  </a:cubicBezTo>
                  <a:cubicBezTo>
                    <a:pt x="91" y="6"/>
                    <a:pt x="85" y="0"/>
                    <a:pt x="78" y="0"/>
                  </a:cubicBezTo>
                  <a:cubicBezTo>
                    <a:pt x="12" y="0"/>
                    <a:pt x="12" y="0"/>
                    <a:pt x="12" y="0"/>
                  </a:cubicBezTo>
                  <a:cubicBezTo>
                    <a:pt x="5" y="0"/>
                    <a:pt x="0" y="6"/>
                    <a:pt x="0" y="13"/>
                  </a:cubicBezTo>
                  <a:cubicBezTo>
                    <a:pt x="0" y="14"/>
                    <a:pt x="0" y="14"/>
                    <a:pt x="0" y="14"/>
                  </a:cubicBezTo>
                  <a:lnTo>
                    <a:pt x="91" y="14"/>
                  </a:lnTo>
                  <a:close/>
                </a:path>
              </a:pathLst>
            </a:custGeom>
            <a:grpFill/>
            <a:ln>
              <a:noFill/>
            </a:ln>
          </p:spPr>
          <p:txBody>
            <a:bodyPr vert="horz" wrap="square" lIns="57619" tIns="28809" rIns="57619" bIns="28809" numCol="1" anchor="t" anchorCtr="0" compatLnSpc="1">
              <a:prstTxWarp prst="textNoShape">
                <a:avLst/>
              </a:prstTxWarp>
            </a:bodyPr>
            <a:lstStyle/>
            <a:p>
              <a:pPr marL="0" marR="0" lvl="0" indent="0" algn="l" defTabSz="653156" rtl="0" eaLnBrk="1" fontAlgn="base" latinLnBrk="0" hangingPunct="1">
                <a:lnSpc>
                  <a:spcPct val="100000"/>
                </a:lnSpc>
                <a:spcBef>
                  <a:spcPct val="0"/>
                </a:spcBef>
                <a:spcAft>
                  <a:spcPct val="0"/>
                </a:spcAft>
                <a:buClrTx/>
                <a:buSzTx/>
                <a:buFontTx/>
                <a:buNone/>
                <a:tabLst/>
                <a:defRPr/>
              </a:pPr>
              <a:endParaRPr kumimoji="0" lang="en-GB" sz="1260" b="0" i="0" u="none" strike="noStrike" kern="1200" cap="none" spc="0" normalizeH="0" baseline="0" noProof="0" dirty="0">
                <a:ln>
                  <a:noFill/>
                </a:ln>
                <a:effectLst/>
                <a:uLnTx/>
                <a:uFillTx/>
                <a:latin typeface="Calibri"/>
                <a:ea typeface="+mn-ea"/>
                <a:cs typeface="Arial" charset="0"/>
              </a:endParaRPr>
            </a:p>
          </p:txBody>
        </p:sp>
        <p:sp>
          <p:nvSpPr>
            <p:cNvPr id="752" name="Freeform 447">
              <a:extLst>
                <a:ext uri="{FF2B5EF4-FFF2-40B4-BE49-F238E27FC236}">
                  <a16:creationId xmlns:a16="http://schemas.microsoft.com/office/drawing/2014/main" id="{F7EB8972-B83B-9232-6709-A31BC64009A5}"/>
                </a:ext>
              </a:extLst>
            </p:cNvPr>
            <p:cNvSpPr>
              <a:spLocks/>
            </p:cNvSpPr>
            <p:nvPr/>
          </p:nvSpPr>
          <p:spPr bwMode="auto">
            <a:xfrm>
              <a:off x="8086721" y="3182939"/>
              <a:ext cx="158750" cy="49211"/>
            </a:xfrm>
            <a:custGeom>
              <a:avLst/>
              <a:gdLst>
                <a:gd name="T0" fmla="*/ 32 w 32"/>
                <a:gd name="T1" fmla="*/ 5 h 10"/>
                <a:gd name="T2" fmla="*/ 6 w 32"/>
                <a:gd name="T3" fmla="*/ 10 h 10"/>
                <a:gd name="T4" fmla="*/ 0 w 32"/>
                <a:gd name="T5" fmla="*/ 5 h 10"/>
                <a:gd name="T6" fmla="*/ 0 w 32"/>
                <a:gd name="T7" fmla="*/ 5 h 10"/>
                <a:gd name="T8" fmla="*/ 5 w 32"/>
                <a:gd name="T9" fmla="*/ 0 h 10"/>
                <a:gd name="T10" fmla="*/ 32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32" y="5"/>
                  </a:moveTo>
                  <a:cubicBezTo>
                    <a:pt x="32" y="5"/>
                    <a:pt x="14" y="10"/>
                    <a:pt x="6" y="10"/>
                  </a:cubicBezTo>
                  <a:cubicBezTo>
                    <a:pt x="3" y="10"/>
                    <a:pt x="0" y="8"/>
                    <a:pt x="0" y="5"/>
                  </a:cubicBezTo>
                  <a:cubicBezTo>
                    <a:pt x="0" y="5"/>
                    <a:pt x="0" y="5"/>
                    <a:pt x="0" y="5"/>
                  </a:cubicBezTo>
                  <a:cubicBezTo>
                    <a:pt x="0" y="2"/>
                    <a:pt x="3" y="0"/>
                    <a:pt x="5" y="0"/>
                  </a:cubicBezTo>
                  <a:cubicBezTo>
                    <a:pt x="12" y="0"/>
                    <a:pt x="31" y="5"/>
                    <a:pt x="32" y="5"/>
                  </a:cubicBezTo>
                  <a:close/>
                </a:path>
              </a:pathLst>
            </a:custGeom>
            <a:grpFill/>
            <a:ln>
              <a:noFill/>
            </a:ln>
          </p:spPr>
          <p:txBody>
            <a:bodyPr vert="horz" wrap="square" lIns="57619" tIns="28809" rIns="57619" bIns="28809" numCol="1" anchor="t" anchorCtr="0" compatLnSpc="1">
              <a:prstTxWarp prst="textNoShape">
                <a:avLst/>
              </a:prstTxWarp>
            </a:bodyPr>
            <a:lstStyle/>
            <a:p>
              <a:pPr marL="0" marR="0" lvl="0" indent="0" algn="l" defTabSz="653156" rtl="0" eaLnBrk="1" fontAlgn="base" latinLnBrk="0" hangingPunct="1">
                <a:lnSpc>
                  <a:spcPct val="100000"/>
                </a:lnSpc>
                <a:spcBef>
                  <a:spcPct val="0"/>
                </a:spcBef>
                <a:spcAft>
                  <a:spcPct val="0"/>
                </a:spcAft>
                <a:buClrTx/>
                <a:buSzTx/>
                <a:buFontTx/>
                <a:buNone/>
                <a:tabLst/>
                <a:defRPr/>
              </a:pPr>
              <a:endParaRPr kumimoji="0" lang="en-GB" sz="1260" b="0" i="0" u="none" strike="noStrike" kern="1200" cap="none" spc="0" normalizeH="0" baseline="0" noProof="0" dirty="0">
                <a:ln>
                  <a:noFill/>
                </a:ln>
                <a:effectLst/>
                <a:uLnTx/>
                <a:uFillTx/>
                <a:latin typeface="Calibri"/>
                <a:ea typeface="+mn-ea"/>
                <a:cs typeface="Arial" charset="0"/>
              </a:endParaRPr>
            </a:p>
          </p:txBody>
        </p:sp>
        <p:sp>
          <p:nvSpPr>
            <p:cNvPr id="753" name="Freeform 448">
              <a:extLst>
                <a:ext uri="{FF2B5EF4-FFF2-40B4-BE49-F238E27FC236}">
                  <a16:creationId xmlns:a16="http://schemas.microsoft.com/office/drawing/2014/main" id="{4450AF9C-E235-FBB3-ACDF-CF04353DD710}"/>
                </a:ext>
              </a:extLst>
            </p:cNvPr>
            <p:cNvSpPr>
              <a:spLocks/>
            </p:cNvSpPr>
            <p:nvPr/>
          </p:nvSpPr>
          <p:spPr bwMode="auto">
            <a:xfrm>
              <a:off x="8135939" y="3028949"/>
              <a:ext cx="104774" cy="138113"/>
            </a:xfrm>
            <a:custGeom>
              <a:avLst/>
              <a:gdLst>
                <a:gd name="T0" fmla="*/ 21 w 21"/>
                <a:gd name="T1" fmla="*/ 28 h 28"/>
                <a:gd name="T2" fmla="*/ 2 w 21"/>
                <a:gd name="T3" fmla="*/ 9 h 28"/>
                <a:gd name="T4" fmla="*/ 3 w 21"/>
                <a:gd name="T5" fmla="*/ 1 h 28"/>
                <a:gd name="T6" fmla="*/ 3 w 21"/>
                <a:gd name="T7" fmla="*/ 1 h 28"/>
                <a:gd name="T8" fmla="*/ 10 w 21"/>
                <a:gd name="T9" fmla="*/ 3 h 28"/>
                <a:gd name="T10" fmla="*/ 21 w 21"/>
                <a:gd name="T11" fmla="*/ 28 h 28"/>
              </a:gdLst>
              <a:ahLst/>
              <a:cxnLst>
                <a:cxn ang="0">
                  <a:pos x="T0" y="T1"/>
                </a:cxn>
                <a:cxn ang="0">
                  <a:pos x="T2" y="T3"/>
                </a:cxn>
                <a:cxn ang="0">
                  <a:pos x="T4" y="T5"/>
                </a:cxn>
                <a:cxn ang="0">
                  <a:pos x="T6" y="T7"/>
                </a:cxn>
                <a:cxn ang="0">
                  <a:pos x="T8" y="T9"/>
                </a:cxn>
                <a:cxn ang="0">
                  <a:pos x="T10" y="T11"/>
                </a:cxn>
              </a:cxnLst>
              <a:rect l="0" t="0" r="r" b="b"/>
              <a:pathLst>
                <a:path w="21" h="28">
                  <a:moveTo>
                    <a:pt x="21" y="28"/>
                  </a:moveTo>
                  <a:cubicBezTo>
                    <a:pt x="21" y="28"/>
                    <a:pt x="6" y="15"/>
                    <a:pt x="2" y="9"/>
                  </a:cubicBezTo>
                  <a:cubicBezTo>
                    <a:pt x="0" y="6"/>
                    <a:pt x="1" y="3"/>
                    <a:pt x="3" y="1"/>
                  </a:cubicBezTo>
                  <a:cubicBezTo>
                    <a:pt x="3" y="1"/>
                    <a:pt x="3" y="1"/>
                    <a:pt x="3" y="1"/>
                  </a:cubicBezTo>
                  <a:cubicBezTo>
                    <a:pt x="6" y="0"/>
                    <a:pt x="9" y="0"/>
                    <a:pt x="10" y="3"/>
                  </a:cubicBezTo>
                  <a:cubicBezTo>
                    <a:pt x="14" y="9"/>
                    <a:pt x="20" y="27"/>
                    <a:pt x="21" y="28"/>
                  </a:cubicBezTo>
                  <a:close/>
                </a:path>
              </a:pathLst>
            </a:custGeom>
            <a:grpFill/>
            <a:ln>
              <a:noFill/>
            </a:ln>
          </p:spPr>
          <p:txBody>
            <a:bodyPr vert="horz" wrap="square" lIns="57619" tIns="28809" rIns="57619" bIns="28809" numCol="1" anchor="t" anchorCtr="0" compatLnSpc="1">
              <a:prstTxWarp prst="textNoShape">
                <a:avLst/>
              </a:prstTxWarp>
            </a:bodyPr>
            <a:lstStyle/>
            <a:p>
              <a:pPr marL="0" marR="0" lvl="0" indent="0" algn="l" defTabSz="653156" rtl="0" eaLnBrk="1" fontAlgn="base" latinLnBrk="0" hangingPunct="1">
                <a:lnSpc>
                  <a:spcPct val="100000"/>
                </a:lnSpc>
                <a:spcBef>
                  <a:spcPct val="0"/>
                </a:spcBef>
                <a:spcAft>
                  <a:spcPct val="0"/>
                </a:spcAft>
                <a:buClrTx/>
                <a:buSzTx/>
                <a:buFontTx/>
                <a:buNone/>
                <a:tabLst/>
                <a:defRPr/>
              </a:pPr>
              <a:endParaRPr kumimoji="0" lang="en-GB" sz="1260" b="0" i="0" u="none" strike="noStrike" kern="1200" cap="none" spc="0" normalizeH="0" baseline="0" noProof="0" dirty="0">
                <a:ln>
                  <a:noFill/>
                </a:ln>
                <a:effectLst/>
                <a:uLnTx/>
                <a:uFillTx/>
                <a:latin typeface="Calibri"/>
                <a:ea typeface="+mn-ea"/>
                <a:cs typeface="Arial" charset="0"/>
              </a:endParaRPr>
            </a:p>
          </p:txBody>
        </p:sp>
      </p:grpSp>
      <p:grpSp>
        <p:nvGrpSpPr>
          <p:cNvPr id="756" name="Group 755">
            <a:extLst>
              <a:ext uri="{FF2B5EF4-FFF2-40B4-BE49-F238E27FC236}">
                <a16:creationId xmlns:a16="http://schemas.microsoft.com/office/drawing/2014/main" id="{CD8F04EB-986B-E3D5-713A-7D0E06865C4D}"/>
              </a:ext>
            </a:extLst>
          </p:cNvPr>
          <p:cNvGrpSpPr/>
          <p:nvPr/>
        </p:nvGrpSpPr>
        <p:grpSpPr>
          <a:xfrm>
            <a:off x="7718918" y="2226362"/>
            <a:ext cx="4118127" cy="3900045"/>
            <a:chOff x="3902859" y="1337605"/>
            <a:chExt cx="4416684" cy="4182791"/>
          </a:xfrm>
        </p:grpSpPr>
        <p:grpSp>
          <p:nvGrpSpPr>
            <p:cNvPr id="757" name="Group 756">
              <a:extLst>
                <a:ext uri="{FF2B5EF4-FFF2-40B4-BE49-F238E27FC236}">
                  <a16:creationId xmlns:a16="http://schemas.microsoft.com/office/drawing/2014/main" id="{038F0492-F61B-9CD4-1B2A-7B98D36BE2E0}"/>
                </a:ext>
              </a:extLst>
            </p:cNvPr>
            <p:cNvGrpSpPr/>
            <p:nvPr/>
          </p:nvGrpSpPr>
          <p:grpSpPr>
            <a:xfrm>
              <a:off x="3911743" y="1337605"/>
              <a:ext cx="4368515" cy="4182791"/>
              <a:chOff x="3912594" y="1988185"/>
              <a:chExt cx="4368515" cy="4182791"/>
            </a:xfrm>
          </p:grpSpPr>
          <p:sp>
            <p:nvSpPr>
              <p:cNvPr id="769" name="Freeform: Shape 768">
                <a:extLst>
                  <a:ext uri="{FF2B5EF4-FFF2-40B4-BE49-F238E27FC236}">
                    <a16:creationId xmlns:a16="http://schemas.microsoft.com/office/drawing/2014/main" id="{84BB449A-D986-874A-DDF0-CCEEF5BD8B2B}"/>
                  </a:ext>
                </a:extLst>
              </p:cNvPr>
              <p:cNvSpPr/>
              <p:nvPr/>
            </p:nvSpPr>
            <p:spPr bwMode="gray">
              <a:xfrm>
                <a:off x="4628884" y="1988185"/>
                <a:ext cx="2934061" cy="1316816"/>
              </a:xfrm>
              <a:custGeom>
                <a:avLst/>
                <a:gdLst>
                  <a:gd name="connsiteX0" fmla="*/ 1467117 w 2934061"/>
                  <a:gd name="connsiteY0" fmla="*/ 0 h 1316816"/>
                  <a:gd name="connsiteX1" fmla="*/ 2913130 w 2934061"/>
                  <a:gd name="connsiteY1" fmla="*/ 1178535 h 1316816"/>
                  <a:gd name="connsiteX2" fmla="*/ 2934061 w 2934061"/>
                  <a:gd name="connsiteY2" fmla="*/ 1315677 h 1316816"/>
                  <a:gd name="connsiteX3" fmla="*/ 2931253 w 2934061"/>
                  <a:gd name="connsiteY3" fmla="*/ 1313971 h 1316816"/>
                  <a:gd name="connsiteX4" fmla="*/ 2176225 w 2934061"/>
                  <a:gd name="connsiteY4" fmla="*/ 1122791 h 1316816"/>
                  <a:gd name="connsiteX5" fmla="*/ 1559661 w 2934061"/>
                  <a:gd name="connsiteY5" fmla="*/ 1247270 h 1316816"/>
                  <a:gd name="connsiteX6" fmla="*/ 1467968 w 2934061"/>
                  <a:gd name="connsiteY6" fmla="*/ 1291441 h 1316816"/>
                  <a:gd name="connsiteX7" fmla="*/ 1376274 w 2934061"/>
                  <a:gd name="connsiteY7" fmla="*/ 1247270 h 1316816"/>
                  <a:gd name="connsiteX8" fmla="*/ 759710 w 2934061"/>
                  <a:gd name="connsiteY8" fmla="*/ 1122791 h 1316816"/>
                  <a:gd name="connsiteX9" fmla="*/ 4682 w 2934061"/>
                  <a:gd name="connsiteY9" fmla="*/ 1313971 h 1316816"/>
                  <a:gd name="connsiteX10" fmla="*/ 0 w 2934061"/>
                  <a:gd name="connsiteY10" fmla="*/ 1316816 h 1316816"/>
                  <a:gd name="connsiteX11" fmla="*/ 21104 w 2934061"/>
                  <a:gd name="connsiteY11" fmla="*/ 1178535 h 1316816"/>
                  <a:gd name="connsiteX12" fmla="*/ 1467117 w 2934061"/>
                  <a:gd name="connsiteY12" fmla="*/ 0 h 131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4061" h="1316816">
                    <a:moveTo>
                      <a:pt x="1467117" y="0"/>
                    </a:moveTo>
                    <a:cubicBezTo>
                      <a:pt x="2180393" y="0"/>
                      <a:pt x="2775499" y="505946"/>
                      <a:pt x="2913130" y="1178535"/>
                    </a:cubicBezTo>
                    <a:lnTo>
                      <a:pt x="2934061" y="1315677"/>
                    </a:lnTo>
                    <a:lnTo>
                      <a:pt x="2931253" y="1313971"/>
                    </a:lnTo>
                    <a:cubicBezTo>
                      <a:pt x="2706812" y="1192047"/>
                      <a:pt x="2449606" y="1122791"/>
                      <a:pt x="2176225" y="1122791"/>
                    </a:cubicBezTo>
                    <a:cubicBezTo>
                      <a:pt x="1957520" y="1122791"/>
                      <a:pt x="1749168" y="1167115"/>
                      <a:pt x="1559661" y="1247270"/>
                    </a:cubicBezTo>
                    <a:lnTo>
                      <a:pt x="1467968" y="1291441"/>
                    </a:lnTo>
                    <a:lnTo>
                      <a:pt x="1376274" y="1247270"/>
                    </a:lnTo>
                    <a:cubicBezTo>
                      <a:pt x="1186767" y="1167115"/>
                      <a:pt x="978415" y="1122791"/>
                      <a:pt x="759710" y="1122791"/>
                    </a:cubicBezTo>
                    <a:cubicBezTo>
                      <a:pt x="486329" y="1122791"/>
                      <a:pt x="229124" y="1192047"/>
                      <a:pt x="4682" y="1313971"/>
                    </a:cubicBezTo>
                    <a:lnTo>
                      <a:pt x="0" y="1316816"/>
                    </a:lnTo>
                    <a:lnTo>
                      <a:pt x="21104" y="1178535"/>
                    </a:lnTo>
                    <a:cubicBezTo>
                      <a:pt x="158736" y="505946"/>
                      <a:pt x="753842" y="0"/>
                      <a:pt x="1467117" y="0"/>
                    </a:cubicBezTo>
                    <a:close/>
                  </a:path>
                </a:pathLst>
              </a:custGeom>
              <a:solidFill>
                <a:srgbClr val="70AD47"/>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GB" sz="1600" b="1">
                  <a:solidFill>
                    <a:schemeClr val="bg1"/>
                  </a:solidFill>
                </a:endParaRPr>
              </a:p>
            </p:txBody>
          </p:sp>
          <p:sp>
            <p:nvSpPr>
              <p:cNvPr id="770" name="Freeform: Shape 769">
                <a:extLst>
                  <a:ext uri="{FF2B5EF4-FFF2-40B4-BE49-F238E27FC236}">
                    <a16:creationId xmlns:a16="http://schemas.microsoft.com/office/drawing/2014/main" id="{37D2F75C-89E6-FD5C-22E6-91504A48E3AC}"/>
                  </a:ext>
                </a:extLst>
              </p:cNvPr>
              <p:cNvSpPr/>
              <p:nvPr/>
            </p:nvSpPr>
            <p:spPr bwMode="gray">
              <a:xfrm>
                <a:off x="4620000" y="3218977"/>
                <a:ext cx="1361498" cy="1433607"/>
              </a:xfrm>
              <a:custGeom>
                <a:avLst/>
                <a:gdLst>
                  <a:gd name="connsiteX0" fmla="*/ 768593 w 1361498"/>
                  <a:gd name="connsiteY0" fmla="*/ 0 h 1433607"/>
                  <a:gd name="connsiteX1" fmla="*/ 1343119 w 1361498"/>
                  <a:gd name="connsiteY1" fmla="*/ 115991 h 1433607"/>
                  <a:gd name="connsiteX2" fmla="*/ 1361498 w 1361498"/>
                  <a:gd name="connsiteY2" fmla="*/ 124845 h 1433607"/>
                  <a:gd name="connsiteX3" fmla="*/ 1299479 w 1361498"/>
                  <a:gd name="connsiteY3" fmla="*/ 162522 h 1433607"/>
                  <a:gd name="connsiteX4" fmla="*/ 609286 w 1361498"/>
                  <a:gd name="connsiteY4" fmla="*/ 1314045 h 1433607"/>
                  <a:gd name="connsiteX5" fmla="*/ 603249 w 1361498"/>
                  <a:gd name="connsiteY5" fmla="*/ 1433607 h 1433607"/>
                  <a:gd name="connsiteX6" fmla="*/ 537127 w 1361498"/>
                  <a:gd name="connsiteY6" fmla="*/ 1384162 h 1433607"/>
                  <a:gd name="connsiteX7" fmla="*/ 0 w 1361498"/>
                  <a:gd name="connsiteY7" fmla="*/ 245209 h 1433607"/>
                  <a:gd name="connsiteX8" fmla="*/ 1435 w 1361498"/>
                  <a:gd name="connsiteY8" fmla="*/ 216789 h 1433607"/>
                  <a:gd name="connsiteX9" fmla="*/ 65044 w 1361498"/>
                  <a:gd name="connsiteY9" fmla="*/ 178145 h 1433607"/>
                  <a:gd name="connsiteX10" fmla="*/ 768593 w 1361498"/>
                  <a:gd name="connsiteY10" fmla="*/ 0 h 143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1498" h="1433607">
                    <a:moveTo>
                      <a:pt x="768593" y="0"/>
                    </a:moveTo>
                    <a:cubicBezTo>
                      <a:pt x="972386" y="0"/>
                      <a:pt x="1166533" y="41302"/>
                      <a:pt x="1343119" y="115991"/>
                    </a:cubicBezTo>
                    <a:lnTo>
                      <a:pt x="1361498" y="124845"/>
                    </a:lnTo>
                    <a:lnTo>
                      <a:pt x="1299479" y="162522"/>
                    </a:lnTo>
                    <a:cubicBezTo>
                      <a:pt x="920267" y="418713"/>
                      <a:pt x="657956" y="834800"/>
                      <a:pt x="609286" y="1314045"/>
                    </a:cubicBezTo>
                    <a:lnTo>
                      <a:pt x="603249" y="1433607"/>
                    </a:lnTo>
                    <a:lnTo>
                      <a:pt x="537127" y="1384162"/>
                    </a:lnTo>
                    <a:cubicBezTo>
                      <a:pt x="209090" y="1113442"/>
                      <a:pt x="0" y="703743"/>
                      <a:pt x="0" y="245209"/>
                    </a:cubicBezTo>
                    <a:lnTo>
                      <a:pt x="1435" y="216789"/>
                    </a:lnTo>
                    <a:lnTo>
                      <a:pt x="65044" y="178145"/>
                    </a:lnTo>
                    <a:cubicBezTo>
                      <a:pt x="274183" y="64534"/>
                      <a:pt x="513852" y="0"/>
                      <a:pt x="768593" y="0"/>
                    </a:cubicBezTo>
                    <a:close/>
                  </a:path>
                </a:pathLst>
              </a:custGeom>
              <a:solidFill>
                <a:srgbClr val="046A38"/>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GB" sz="1600" b="1" dirty="0">
                  <a:solidFill>
                    <a:schemeClr val="bg1"/>
                  </a:solidFill>
                </a:endParaRPr>
              </a:p>
            </p:txBody>
          </p:sp>
          <p:sp>
            <p:nvSpPr>
              <p:cNvPr id="771" name="Freeform: Shape 770">
                <a:extLst>
                  <a:ext uri="{FF2B5EF4-FFF2-40B4-BE49-F238E27FC236}">
                    <a16:creationId xmlns:a16="http://schemas.microsoft.com/office/drawing/2014/main" id="{D67EF3AA-3FED-A519-1F56-B9077F6404BA}"/>
                  </a:ext>
                </a:extLst>
              </p:cNvPr>
              <p:cNvSpPr/>
              <p:nvPr/>
            </p:nvSpPr>
            <p:spPr bwMode="gray">
              <a:xfrm>
                <a:off x="6212204" y="3218976"/>
                <a:ext cx="1359797" cy="1432382"/>
              </a:xfrm>
              <a:custGeom>
                <a:avLst/>
                <a:gdLst>
                  <a:gd name="connsiteX0" fmla="*/ 592905 w 1359797"/>
                  <a:gd name="connsiteY0" fmla="*/ 0 h 1432382"/>
                  <a:gd name="connsiteX1" fmla="*/ 1296454 w 1359797"/>
                  <a:gd name="connsiteY1" fmla="*/ 178145 h 1432382"/>
                  <a:gd name="connsiteX2" fmla="*/ 1358308 w 1359797"/>
                  <a:gd name="connsiteY2" fmla="*/ 215723 h 1432382"/>
                  <a:gd name="connsiteX3" fmla="*/ 1359797 w 1359797"/>
                  <a:gd name="connsiteY3" fmla="*/ 245209 h 1432382"/>
                  <a:gd name="connsiteX4" fmla="*/ 822670 w 1359797"/>
                  <a:gd name="connsiteY4" fmla="*/ 1384162 h 1432382"/>
                  <a:gd name="connsiteX5" fmla="*/ 758188 w 1359797"/>
                  <a:gd name="connsiteY5" fmla="*/ 1432382 h 1432382"/>
                  <a:gd name="connsiteX6" fmla="*/ 752212 w 1359797"/>
                  <a:gd name="connsiteY6" fmla="*/ 1314045 h 1432382"/>
                  <a:gd name="connsiteX7" fmla="*/ 62019 w 1359797"/>
                  <a:gd name="connsiteY7" fmla="*/ 162522 h 1432382"/>
                  <a:gd name="connsiteX8" fmla="*/ 0 w 1359797"/>
                  <a:gd name="connsiteY8" fmla="*/ 124845 h 1432382"/>
                  <a:gd name="connsiteX9" fmla="*/ 18379 w 1359797"/>
                  <a:gd name="connsiteY9" fmla="*/ 115991 h 1432382"/>
                  <a:gd name="connsiteX10" fmla="*/ 592905 w 1359797"/>
                  <a:gd name="connsiteY10" fmla="*/ 0 h 143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9797" h="1432382">
                    <a:moveTo>
                      <a:pt x="592905" y="0"/>
                    </a:moveTo>
                    <a:cubicBezTo>
                      <a:pt x="847646" y="0"/>
                      <a:pt x="1087315" y="64534"/>
                      <a:pt x="1296454" y="178145"/>
                    </a:cubicBezTo>
                    <a:lnTo>
                      <a:pt x="1358308" y="215723"/>
                    </a:lnTo>
                    <a:lnTo>
                      <a:pt x="1359797" y="245209"/>
                    </a:lnTo>
                    <a:cubicBezTo>
                      <a:pt x="1359797" y="703743"/>
                      <a:pt x="1150707" y="1113442"/>
                      <a:pt x="822670" y="1384162"/>
                    </a:cubicBezTo>
                    <a:lnTo>
                      <a:pt x="758188" y="1432382"/>
                    </a:lnTo>
                    <a:lnTo>
                      <a:pt x="752212" y="1314045"/>
                    </a:lnTo>
                    <a:cubicBezTo>
                      <a:pt x="703542" y="834800"/>
                      <a:pt x="441232" y="418713"/>
                      <a:pt x="62019" y="162522"/>
                    </a:cubicBezTo>
                    <a:lnTo>
                      <a:pt x="0" y="124845"/>
                    </a:lnTo>
                    <a:lnTo>
                      <a:pt x="18379" y="115991"/>
                    </a:lnTo>
                    <a:cubicBezTo>
                      <a:pt x="194966" y="41302"/>
                      <a:pt x="389112" y="0"/>
                      <a:pt x="592905" y="0"/>
                    </a:cubicBezTo>
                    <a:close/>
                  </a:path>
                </a:pathLst>
              </a:custGeom>
              <a:solidFill>
                <a:srgbClr val="70AD47"/>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GB" sz="1600" b="1" dirty="0">
                  <a:solidFill>
                    <a:schemeClr val="bg1"/>
                  </a:solidFill>
                </a:endParaRPr>
              </a:p>
            </p:txBody>
          </p:sp>
          <p:sp>
            <p:nvSpPr>
              <p:cNvPr id="772" name="Freeform: Shape 771">
                <a:extLst>
                  <a:ext uri="{FF2B5EF4-FFF2-40B4-BE49-F238E27FC236}">
                    <a16:creationId xmlns:a16="http://schemas.microsoft.com/office/drawing/2014/main" id="{6016FF2D-EA59-ED1F-C76D-C8B30D0FF64A}"/>
                  </a:ext>
                </a:extLst>
              </p:cNvPr>
              <p:cNvSpPr/>
              <p:nvPr/>
            </p:nvSpPr>
            <p:spPr bwMode="gray">
              <a:xfrm>
                <a:off x="5329109" y="3399983"/>
                <a:ext cx="1535485" cy="1540203"/>
              </a:xfrm>
              <a:custGeom>
                <a:avLst/>
                <a:gdLst>
                  <a:gd name="connsiteX0" fmla="*/ 767743 w 1535485"/>
                  <a:gd name="connsiteY0" fmla="*/ 0 h 1540203"/>
                  <a:gd name="connsiteX1" fmla="*/ 884731 w 1535485"/>
                  <a:gd name="connsiteY1" fmla="*/ 71072 h 1540203"/>
                  <a:gd name="connsiteX2" fmla="*/ 1535485 w 1535485"/>
                  <a:gd name="connsiteY2" fmla="*/ 1294994 h 1540203"/>
                  <a:gd name="connsiteX3" fmla="*/ 1534050 w 1535485"/>
                  <a:gd name="connsiteY3" fmla="*/ 1323415 h 1540203"/>
                  <a:gd name="connsiteX4" fmla="*/ 1470441 w 1535485"/>
                  <a:gd name="connsiteY4" fmla="*/ 1362058 h 1540203"/>
                  <a:gd name="connsiteX5" fmla="*/ 766892 w 1535485"/>
                  <a:gd name="connsiteY5" fmla="*/ 1540203 h 1540203"/>
                  <a:gd name="connsiteX6" fmla="*/ 63343 w 1535485"/>
                  <a:gd name="connsiteY6" fmla="*/ 1362058 h 1540203"/>
                  <a:gd name="connsiteX7" fmla="*/ 1489 w 1535485"/>
                  <a:gd name="connsiteY7" fmla="*/ 1324481 h 1540203"/>
                  <a:gd name="connsiteX8" fmla="*/ 0 w 1535485"/>
                  <a:gd name="connsiteY8" fmla="*/ 1294994 h 1540203"/>
                  <a:gd name="connsiteX9" fmla="*/ 650754 w 1535485"/>
                  <a:gd name="connsiteY9" fmla="*/ 71072 h 1540203"/>
                  <a:gd name="connsiteX10" fmla="*/ 767743 w 1535485"/>
                  <a:gd name="connsiteY10" fmla="*/ 0 h 15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5485" h="1540203">
                    <a:moveTo>
                      <a:pt x="767743" y="0"/>
                    </a:moveTo>
                    <a:lnTo>
                      <a:pt x="884731" y="71072"/>
                    </a:lnTo>
                    <a:cubicBezTo>
                      <a:pt x="1277349" y="336320"/>
                      <a:pt x="1535485" y="785512"/>
                      <a:pt x="1535485" y="1294994"/>
                    </a:cubicBezTo>
                    <a:lnTo>
                      <a:pt x="1534050" y="1323415"/>
                    </a:lnTo>
                    <a:lnTo>
                      <a:pt x="1470441" y="1362058"/>
                    </a:lnTo>
                    <a:cubicBezTo>
                      <a:pt x="1261302" y="1475669"/>
                      <a:pt x="1021633" y="1540203"/>
                      <a:pt x="766892" y="1540203"/>
                    </a:cubicBezTo>
                    <a:cubicBezTo>
                      <a:pt x="512151" y="1540203"/>
                      <a:pt x="272482" y="1475669"/>
                      <a:pt x="63343" y="1362058"/>
                    </a:cubicBezTo>
                    <a:lnTo>
                      <a:pt x="1489" y="1324481"/>
                    </a:lnTo>
                    <a:lnTo>
                      <a:pt x="0" y="1294994"/>
                    </a:lnTo>
                    <a:cubicBezTo>
                      <a:pt x="0" y="785512"/>
                      <a:pt x="258136" y="336320"/>
                      <a:pt x="650754" y="71072"/>
                    </a:cubicBezTo>
                    <a:lnTo>
                      <a:pt x="767743" y="0"/>
                    </a:lnTo>
                    <a:close/>
                  </a:path>
                </a:pathLst>
              </a:custGeom>
              <a:solidFill>
                <a:srgbClr val="D0D0CE"/>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GB" sz="1600" b="1">
                  <a:solidFill>
                    <a:schemeClr val="bg1"/>
                  </a:solidFill>
                </a:endParaRPr>
              </a:p>
            </p:txBody>
          </p:sp>
          <p:sp>
            <p:nvSpPr>
              <p:cNvPr id="773" name="Freeform: Shape 772">
                <a:extLst>
                  <a:ext uri="{FF2B5EF4-FFF2-40B4-BE49-F238E27FC236}">
                    <a16:creationId xmlns:a16="http://schemas.microsoft.com/office/drawing/2014/main" id="{84F08EB9-9D23-9648-9791-635522B23BA9}"/>
                  </a:ext>
                </a:extLst>
              </p:cNvPr>
              <p:cNvSpPr/>
              <p:nvPr/>
            </p:nvSpPr>
            <p:spPr bwMode="gray">
              <a:xfrm>
                <a:off x="6212203" y="3506579"/>
                <a:ext cx="2068906" cy="2664397"/>
              </a:xfrm>
              <a:custGeom>
                <a:avLst/>
                <a:gdLst>
                  <a:gd name="connsiteX0" fmla="*/ 1465657 w 2068905"/>
                  <a:gd name="connsiteY0" fmla="*/ 0 h 2664398"/>
                  <a:gd name="connsiteX1" fmla="*/ 1531778 w 2068905"/>
                  <a:gd name="connsiteY1" fmla="*/ 49445 h 2664398"/>
                  <a:gd name="connsiteX2" fmla="*/ 2068905 w 2068905"/>
                  <a:gd name="connsiteY2" fmla="*/ 1188398 h 2664398"/>
                  <a:gd name="connsiteX3" fmla="*/ 592905 w 2068905"/>
                  <a:gd name="connsiteY3" fmla="*/ 2664398 h 2664398"/>
                  <a:gd name="connsiteX4" fmla="*/ 18379 w 2068905"/>
                  <a:gd name="connsiteY4" fmla="*/ 2548407 h 2664398"/>
                  <a:gd name="connsiteX5" fmla="*/ 0 w 2068905"/>
                  <a:gd name="connsiteY5" fmla="*/ 2539554 h 2664398"/>
                  <a:gd name="connsiteX6" fmla="*/ 62019 w 2068905"/>
                  <a:gd name="connsiteY6" fmla="*/ 2501876 h 2664398"/>
                  <a:gd name="connsiteX7" fmla="*/ 752212 w 2068905"/>
                  <a:gd name="connsiteY7" fmla="*/ 1350353 h 2664398"/>
                  <a:gd name="connsiteX8" fmla="*/ 755797 w 2068905"/>
                  <a:gd name="connsiteY8" fmla="*/ 1279365 h 2664398"/>
                  <a:gd name="connsiteX9" fmla="*/ 769426 w 2068905"/>
                  <a:gd name="connsiteY9" fmla="*/ 1271085 h 2664398"/>
                  <a:gd name="connsiteX10" fmla="*/ 1459619 w 2068905"/>
                  <a:gd name="connsiteY10" fmla="*/ 119562 h 2664398"/>
                  <a:gd name="connsiteX11" fmla="*/ 1465657 w 2068905"/>
                  <a:gd name="connsiteY11" fmla="*/ 0 h 266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8905" h="2664398">
                    <a:moveTo>
                      <a:pt x="1465657" y="0"/>
                    </a:moveTo>
                    <a:lnTo>
                      <a:pt x="1531778" y="49445"/>
                    </a:lnTo>
                    <a:cubicBezTo>
                      <a:pt x="1859815" y="320165"/>
                      <a:pt x="2068905" y="729864"/>
                      <a:pt x="2068905" y="1188398"/>
                    </a:cubicBezTo>
                    <a:cubicBezTo>
                      <a:pt x="2068905" y="2003570"/>
                      <a:pt x="1408077" y="2664398"/>
                      <a:pt x="592905" y="2664398"/>
                    </a:cubicBezTo>
                    <a:cubicBezTo>
                      <a:pt x="389112" y="2664398"/>
                      <a:pt x="194966" y="2623096"/>
                      <a:pt x="18379" y="2548407"/>
                    </a:cubicBezTo>
                    <a:lnTo>
                      <a:pt x="0" y="2539554"/>
                    </a:lnTo>
                    <a:lnTo>
                      <a:pt x="62019" y="2501876"/>
                    </a:lnTo>
                    <a:cubicBezTo>
                      <a:pt x="441232" y="2245685"/>
                      <a:pt x="703542" y="1829598"/>
                      <a:pt x="752212" y="1350353"/>
                    </a:cubicBezTo>
                    <a:lnTo>
                      <a:pt x="755797" y="1279365"/>
                    </a:lnTo>
                    <a:lnTo>
                      <a:pt x="769426" y="1271085"/>
                    </a:lnTo>
                    <a:cubicBezTo>
                      <a:pt x="1148639" y="1014894"/>
                      <a:pt x="1410949" y="598807"/>
                      <a:pt x="1459619" y="119562"/>
                    </a:cubicBezTo>
                    <a:lnTo>
                      <a:pt x="1465657" y="0"/>
                    </a:lnTo>
                    <a:close/>
                  </a:path>
                </a:pathLst>
              </a:custGeom>
              <a:solidFill>
                <a:srgbClr val="0097A9"/>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GB" sz="1600" b="1">
                  <a:solidFill>
                    <a:schemeClr val="bg1"/>
                  </a:solidFill>
                </a:endParaRPr>
              </a:p>
            </p:txBody>
          </p:sp>
          <p:sp>
            <p:nvSpPr>
              <p:cNvPr id="774" name="Freeform: Shape 773">
                <a:extLst>
                  <a:ext uri="{FF2B5EF4-FFF2-40B4-BE49-F238E27FC236}">
                    <a16:creationId xmlns:a16="http://schemas.microsoft.com/office/drawing/2014/main" id="{AF61EA3F-F408-F76D-EFD6-AEB6A8963CDB}"/>
                  </a:ext>
                </a:extLst>
              </p:cNvPr>
              <p:cNvSpPr/>
              <p:nvPr/>
            </p:nvSpPr>
            <p:spPr bwMode="gray">
              <a:xfrm>
                <a:off x="3912594" y="3507804"/>
                <a:ext cx="2068905" cy="2663172"/>
              </a:xfrm>
              <a:custGeom>
                <a:avLst/>
                <a:gdLst>
                  <a:gd name="connsiteX0" fmla="*/ 601610 w 2068905"/>
                  <a:gd name="connsiteY0" fmla="*/ 0 h 2663172"/>
                  <a:gd name="connsiteX1" fmla="*/ 607585 w 2068905"/>
                  <a:gd name="connsiteY1" fmla="*/ 118336 h 2663172"/>
                  <a:gd name="connsiteX2" fmla="*/ 1297778 w 2068905"/>
                  <a:gd name="connsiteY2" fmla="*/ 1269859 h 2663172"/>
                  <a:gd name="connsiteX3" fmla="*/ 1313163 w 2068905"/>
                  <a:gd name="connsiteY3" fmla="*/ 1279205 h 2663172"/>
                  <a:gd name="connsiteX4" fmla="*/ 1316693 w 2068905"/>
                  <a:gd name="connsiteY4" fmla="*/ 1349127 h 2663172"/>
                  <a:gd name="connsiteX5" fmla="*/ 2006886 w 2068905"/>
                  <a:gd name="connsiteY5" fmla="*/ 2500650 h 2663172"/>
                  <a:gd name="connsiteX6" fmla="*/ 2068905 w 2068905"/>
                  <a:gd name="connsiteY6" fmla="*/ 2538328 h 2663172"/>
                  <a:gd name="connsiteX7" fmla="*/ 2050526 w 2068905"/>
                  <a:gd name="connsiteY7" fmla="*/ 2547181 h 2663172"/>
                  <a:gd name="connsiteX8" fmla="*/ 1476000 w 2068905"/>
                  <a:gd name="connsiteY8" fmla="*/ 2663172 h 2663172"/>
                  <a:gd name="connsiteX9" fmla="*/ 0 w 2068905"/>
                  <a:gd name="connsiteY9" fmla="*/ 1187172 h 2663172"/>
                  <a:gd name="connsiteX10" fmla="*/ 537127 w 2068905"/>
                  <a:gd name="connsiteY10" fmla="*/ 48219 h 2663172"/>
                  <a:gd name="connsiteX11" fmla="*/ 601610 w 2068905"/>
                  <a:gd name="connsiteY11" fmla="*/ 0 h 266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68905" h="2663172">
                    <a:moveTo>
                      <a:pt x="601610" y="0"/>
                    </a:moveTo>
                    <a:lnTo>
                      <a:pt x="607585" y="118336"/>
                    </a:lnTo>
                    <a:cubicBezTo>
                      <a:pt x="656255" y="597581"/>
                      <a:pt x="918566" y="1013668"/>
                      <a:pt x="1297778" y="1269859"/>
                    </a:cubicBezTo>
                    <a:lnTo>
                      <a:pt x="1313163" y="1279205"/>
                    </a:lnTo>
                    <a:lnTo>
                      <a:pt x="1316693" y="1349127"/>
                    </a:lnTo>
                    <a:cubicBezTo>
                      <a:pt x="1365363" y="1828372"/>
                      <a:pt x="1627674" y="2244459"/>
                      <a:pt x="2006886" y="2500650"/>
                    </a:cubicBezTo>
                    <a:lnTo>
                      <a:pt x="2068905" y="2538328"/>
                    </a:lnTo>
                    <a:lnTo>
                      <a:pt x="2050526" y="2547181"/>
                    </a:lnTo>
                    <a:cubicBezTo>
                      <a:pt x="1873940" y="2621870"/>
                      <a:pt x="1679793" y="2663172"/>
                      <a:pt x="1476000" y="2663172"/>
                    </a:cubicBezTo>
                    <a:cubicBezTo>
                      <a:pt x="660828" y="2663172"/>
                      <a:pt x="0" y="2002344"/>
                      <a:pt x="0" y="1187172"/>
                    </a:cubicBezTo>
                    <a:cubicBezTo>
                      <a:pt x="0" y="728638"/>
                      <a:pt x="209090" y="318939"/>
                      <a:pt x="537127" y="48219"/>
                    </a:cubicBezTo>
                    <a:lnTo>
                      <a:pt x="601610" y="0"/>
                    </a:lnTo>
                    <a:close/>
                  </a:path>
                </a:pathLst>
              </a:custGeom>
              <a:solidFill>
                <a:srgbClr val="046A38"/>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GB" sz="1600" b="1">
                  <a:solidFill>
                    <a:schemeClr val="bg1"/>
                  </a:solidFill>
                </a:endParaRPr>
              </a:p>
            </p:txBody>
          </p:sp>
          <p:sp>
            <p:nvSpPr>
              <p:cNvPr id="775" name="Freeform: Shape 774">
                <a:extLst>
                  <a:ext uri="{FF2B5EF4-FFF2-40B4-BE49-F238E27FC236}">
                    <a16:creationId xmlns:a16="http://schemas.microsoft.com/office/drawing/2014/main" id="{75D0C75C-C2FB-0111-2367-3604B981E2C5}"/>
                  </a:ext>
                </a:extLst>
              </p:cNvPr>
              <p:cNvSpPr/>
              <p:nvPr/>
            </p:nvSpPr>
            <p:spPr bwMode="gray">
              <a:xfrm>
                <a:off x="5338165" y="4854161"/>
                <a:ext cx="1517546" cy="1135810"/>
              </a:xfrm>
              <a:custGeom>
                <a:avLst/>
                <a:gdLst>
                  <a:gd name="connsiteX0" fmla="*/ 1517546 w 1517546"/>
                  <a:gd name="connsiteY0" fmla="*/ 0 h 1135810"/>
                  <a:gd name="connsiteX1" fmla="*/ 1496441 w 1517546"/>
                  <a:gd name="connsiteY1" fmla="*/ 138280 h 1135810"/>
                  <a:gd name="connsiteX2" fmla="*/ 875674 w 1517546"/>
                  <a:gd name="connsiteY2" fmla="*/ 1064737 h 1135810"/>
                  <a:gd name="connsiteX3" fmla="*/ 758686 w 1517546"/>
                  <a:gd name="connsiteY3" fmla="*/ 1135810 h 1135810"/>
                  <a:gd name="connsiteX4" fmla="*/ 641697 w 1517546"/>
                  <a:gd name="connsiteY4" fmla="*/ 1064737 h 1135810"/>
                  <a:gd name="connsiteX5" fmla="*/ 20930 w 1517546"/>
                  <a:gd name="connsiteY5" fmla="*/ 138280 h 1135810"/>
                  <a:gd name="connsiteX6" fmla="*/ 0 w 1517546"/>
                  <a:gd name="connsiteY6" fmla="*/ 1139 h 1135810"/>
                  <a:gd name="connsiteX7" fmla="*/ 2807 w 1517546"/>
                  <a:gd name="connsiteY7" fmla="*/ 2844 h 1135810"/>
                  <a:gd name="connsiteX8" fmla="*/ 757835 w 1517546"/>
                  <a:gd name="connsiteY8" fmla="*/ 194024 h 1135810"/>
                  <a:gd name="connsiteX9" fmla="*/ 1512863 w 1517546"/>
                  <a:gd name="connsiteY9" fmla="*/ 2844 h 1135810"/>
                  <a:gd name="connsiteX10" fmla="*/ 1517546 w 1517546"/>
                  <a:gd name="connsiteY10" fmla="*/ 0 h 113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7546" h="1135810">
                    <a:moveTo>
                      <a:pt x="1517546" y="0"/>
                    </a:moveTo>
                    <a:lnTo>
                      <a:pt x="1496441" y="138280"/>
                    </a:lnTo>
                    <a:cubicBezTo>
                      <a:pt x="1417795" y="522617"/>
                      <a:pt x="1189769" y="852539"/>
                      <a:pt x="875674" y="1064737"/>
                    </a:cubicBezTo>
                    <a:lnTo>
                      <a:pt x="758686" y="1135810"/>
                    </a:lnTo>
                    <a:lnTo>
                      <a:pt x="641697" y="1064737"/>
                    </a:lnTo>
                    <a:cubicBezTo>
                      <a:pt x="327603" y="852539"/>
                      <a:pt x="99577" y="522617"/>
                      <a:pt x="20930" y="138280"/>
                    </a:cubicBezTo>
                    <a:lnTo>
                      <a:pt x="0" y="1139"/>
                    </a:lnTo>
                    <a:lnTo>
                      <a:pt x="2807" y="2844"/>
                    </a:lnTo>
                    <a:cubicBezTo>
                      <a:pt x="227249" y="124768"/>
                      <a:pt x="484454" y="194024"/>
                      <a:pt x="757835" y="194024"/>
                    </a:cubicBezTo>
                    <a:cubicBezTo>
                      <a:pt x="1031216" y="194024"/>
                      <a:pt x="1288422" y="124768"/>
                      <a:pt x="1512863" y="2844"/>
                    </a:cubicBezTo>
                    <a:lnTo>
                      <a:pt x="1517546" y="0"/>
                    </a:lnTo>
                    <a:close/>
                  </a:path>
                </a:pathLst>
              </a:custGeom>
              <a:solidFill>
                <a:srgbClr val="0097A9"/>
              </a:solidFill>
              <a:ln w="19050" algn="ctr">
                <a:noFill/>
                <a:miter lim="800000"/>
                <a:headEnd/>
                <a:tailEnd/>
              </a:ln>
            </p:spPr>
            <p:txBody>
              <a:bodyPr wrap="square" lIns="88900" tIns="88900" rIns="88900" bIns="88900" rtlCol="0" anchor="ctr">
                <a:noAutofit/>
              </a:bodyPr>
              <a:lstStyle/>
              <a:p>
                <a:pPr algn="ctr">
                  <a:lnSpc>
                    <a:spcPct val="106000"/>
                  </a:lnSpc>
                  <a:buFont typeface="Wingdings 2" pitchFamily="18" charset="2"/>
                  <a:buNone/>
                </a:pPr>
                <a:endParaRPr lang="en-GB" sz="1600" b="1">
                  <a:solidFill>
                    <a:schemeClr val="bg1"/>
                  </a:solidFill>
                </a:endParaRPr>
              </a:p>
            </p:txBody>
          </p:sp>
        </p:grpSp>
        <p:sp>
          <p:nvSpPr>
            <p:cNvPr id="758" name="TextBox 757">
              <a:extLst>
                <a:ext uri="{FF2B5EF4-FFF2-40B4-BE49-F238E27FC236}">
                  <a16:creationId xmlns:a16="http://schemas.microsoft.com/office/drawing/2014/main" id="{4E764269-C5F2-D158-9BD7-93631DA7BFBC}"/>
                </a:ext>
              </a:extLst>
            </p:cNvPr>
            <p:cNvSpPr txBox="1"/>
            <p:nvPr/>
          </p:nvSpPr>
          <p:spPr>
            <a:xfrm>
              <a:off x="5530516" y="1605185"/>
              <a:ext cx="1130968" cy="264072"/>
            </a:xfrm>
            <a:prstGeom prst="rect">
              <a:avLst/>
            </a:prstGeom>
            <a:noFill/>
          </p:spPr>
          <p:txBody>
            <a:bodyPr wrap="square" lIns="0" tIns="0" rIns="0" bIns="0" rtlCol="0">
              <a:spAutoFit/>
            </a:bodyPr>
            <a:lstStyle/>
            <a:p>
              <a:pPr algn="ctr">
                <a:spcBef>
                  <a:spcPts val="600"/>
                </a:spcBef>
                <a:buSzPct val="100000"/>
              </a:pPr>
              <a:r>
                <a:rPr lang="en-GB" sz="1600" b="1" dirty="0">
                  <a:solidFill>
                    <a:srgbClr val="FFFFFF"/>
                  </a:solidFill>
                  <a:latin typeface="Calibri" panose="020F0502020204030204" pitchFamily="34" charset="0"/>
                  <a:cs typeface="Calibri" panose="020F0502020204030204" pitchFamily="34" charset="0"/>
                </a:rPr>
                <a:t>External</a:t>
              </a:r>
            </a:p>
          </p:txBody>
        </p:sp>
        <p:sp>
          <p:nvSpPr>
            <p:cNvPr id="759" name="TextBox 758">
              <a:extLst>
                <a:ext uri="{FF2B5EF4-FFF2-40B4-BE49-F238E27FC236}">
                  <a16:creationId xmlns:a16="http://schemas.microsoft.com/office/drawing/2014/main" id="{CE371339-5D32-24B5-7BA1-ED1F9AC30104}"/>
                </a:ext>
              </a:extLst>
            </p:cNvPr>
            <p:cNvSpPr txBox="1"/>
            <p:nvPr/>
          </p:nvSpPr>
          <p:spPr>
            <a:xfrm>
              <a:off x="4902891" y="1883649"/>
              <a:ext cx="2384345" cy="396108"/>
            </a:xfrm>
            <a:prstGeom prst="rect">
              <a:avLst/>
            </a:prstGeom>
            <a:noFill/>
          </p:spPr>
          <p:txBody>
            <a:bodyPr wrap="square" lIns="0" tIns="0" rIns="0" bIns="0" rtlCol="0">
              <a:spAutoFit/>
            </a:bodyPr>
            <a:lstStyle/>
            <a:p>
              <a:pPr algn="ctr">
                <a:buSzPct val="100000"/>
              </a:pPr>
              <a:r>
                <a:rPr lang="en-GB" sz="1200" dirty="0">
                  <a:solidFill>
                    <a:srgbClr val="FFFFFF"/>
                  </a:solidFill>
                  <a:cs typeface="Calibri" panose="020F0502020204030204" pitchFamily="34" charset="0"/>
                </a:rPr>
                <a:t>Nation State Attacks</a:t>
              </a:r>
            </a:p>
            <a:p>
              <a:pPr algn="ctr">
                <a:buSzPct val="100000"/>
              </a:pPr>
              <a:r>
                <a:rPr lang="en-GB" sz="1200" dirty="0">
                  <a:solidFill>
                    <a:srgbClr val="FFFFFF"/>
                  </a:solidFill>
                  <a:cs typeface="Calibri" panose="020F0502020204030204" pitchFamily="34" charset="0"/>
                </a:rPr>
                <a:t>Cyber Criminals / Hacktivist</a:t>
              </a:r>
            </a:p>
          </p:txBody>
        </p:sp>
        <p:sp>
          <p:nvSpPr>
            <p:cNvPr id="760" name="TextBox 759">
              <a:extLst>
                <a:ext uri="{FF2B5EF4-FFF2-40B4-BE49-F238E27FC236}">
                  <a16:creationId xmlns:a16="http://schemas.microsoft.com/office/drawing/2014/main" id="{4E25EA63-C7D5-6846-7647-0025C98CF190}"/>
                </a:ext>
              </a:extLst>
            </p:cNvPr>
            <p:cNvSpPr txBox="1">
              <a:spLocks/>
            </p:cNvSpPr>
            <p:nvPr/>
          </p:nvSpPr>
          <p:spPr>
            <a:xfrm>
              <a:off x="3902859" y="4080711"/>
              <a:ext cx="1222606" cy="264072"/>
            </a:xfrm>
            <a:prstGeom prst="rect">
              <a:avLst/>
            </a:prstGeom>
            <a:noFill/>
          </p:spPr>
          <p:txBody>
            <a:bodyPr wrap="square" lIns="0" tIns="0" rIns="0" bIns="0" rtlCol="0">
              <a:spAutoFit/>
            </a:bodyPr>
            <a:lstStyle/>
            <a:p>
              <a:pPr algn="r">
                <a:spcBef>
                  <a:spcPts val="600"/>
                </a:spcBef>
                <a:buSzPct val="100000"/>
              </a:pPr>
              <a:r>
                <a:rPr lang="en-GB" sz="1600" b="1" dirty="0">
                  <a:solidFill>
                    <a:srgbClr val="FFFFFF"/>
                  </a:solidFill>
                  <a:latin typeface="Calibri" panose="020F0502020204030204" pitchFamily="34" charset="0"/>
                  <a:cs typeface="Calibri" panose="020F0502020204030204" pitchFamily="34" charset="0"/>
                </a:rPr>
                <a:t>Internal</a:t>
              </a:r>
            </a:p>
          </p:txBody>
        </p:sp>
        <p:sp>
          <p:nvSpPr>
            <p:cNvPr id="761" name="TextBox 760">
              <a:extLst>
                <a:ext uri="{FF2B5EF4-FFF2-40B4-BE49-F238E27FC236}">
                  <a16:creationId xmlns:a16="http://schemas.microsoft.com/office/drawing/2014/main" id="{5FFD9B6D-FCA1-E2FF-EA66-FBC78B0F7925}"/>
                </a:ext>
              </a:extLst>
            </p:cNvPr>
            <p:cNvSpPr txBox="1">
              <a:spLocks/>
            </p:cNvSpPr>
            <p:nvPr/>
          </p:nvSpPr>
          <p:spPr>
            <a:xfrm>
              <a:off x="3995941" y="4392686"/>
              <a:ext cx="1242713" cy="594162"/>
            </a:xfrm>
            <a:prstGeom prst="rect">
              <a:avLst/>
            </a:prstGeom>
            <a:noFill/>
          </p:spPr>
          <p:txBody>
            <a:bodyPr wrap="square" lIns="0" tIns="0" rIns="0" bIns="0" rtlCol="0">
              <a:spAutoFit/>
            </a:bodyPr>
            <a:lstStyle/>
            <a:p>
              <a:pPr algn="r">
                <a:spcBef>
                  <a:spcPts val="600"/>
                </a:spcBef>
                <a:buSzPct val="100000"/>
              </a:pPr>
              <a:r>
                <a:rPr lang="en-GB" sz="1200" dirty="0">
                  <a:solidFill>
                    <a:srgbClr val="FFFFFF"/>
                  </a:solidFill>
                  <a:cs typeface="Calibri" panose="020F0502020204030204" pitchFamily="34" charset="0"/>
                </a:rPr>
                <a:t>Malicious insider/ disgruntled employee</a:t>
              </a:r>
            </a:p>
          </p:txBody>
        </p:sp>
        <p:sp>
          <p:nvSpPr>
            <p:cNvPr id="762" name="TextBox 761">
              <a:extLst>
                <a:ext uri="{FF2B5EF4-FFF2-40B4-BE49-F238E27FC236}">
                  <a16:creationId xmlns:a16="http://schemas.microsoft.com/office/drawing/2014/main" id="{6D2DA885-8324-7D31-EE97-49C23DF18ACF}"/>
                </a:ext>
              </a:extLst>
            </p:cNvPr>
            <p:cNvSpPr txBox="1">
              <a:spLocks/>
            </p:cNvSpPr>
            <p:nvPr/>
          </p:nvSpPr>
          <p:spPr>
            <a:xfrm>
              <a:off x="6993117" y="4080711"/>
              <a:ext cx="1221800" cy="264072"/>
            </a:xfrm>
            <a:prstGeom prst="rect">
              <a:avLst/>
            </a:prstGeom>
            <a:noFill/>
          </p:spPr>
          <p:txBody>
            <a:bodyPr wrap="square" lIns="0" tIns="0" rIns="0" bIns="0" rtlCol="0">
              <a:spAutoFit/>
            </a:bodyPr>
            <a:lstStyle/>
            <a:p>
              <a:pPr>
                <a:spcBef>
                  <a:spcPts val="600"/>
                </a:spcBef>
                <a:buSzPct val="100000"/>
              </a:pPr>
              <a:r>
                <a:rPr lang="en-GB" sz="1600" b="1" dirty="0">
                  <a:solidFill>
                    <a:srgbClr val="FFFFFF"/>
                  </a:solidFill>
                  <a:latin typeface="Calibri" panose="020F0502020204030204" pitchFamily="34" charset="0"/>
                  <a:cs typeface="Calibri" panose="020F0502020204030204" pitchFamily="34" charset="0"/>
                </a:rPr>
                <a:t>Negligence</a:t>
              </a:r>
            </a:p>
          </p:txBody>
        </p:sp>
        <p:sp>
          <p:nvSpPr>
            <p:cNvPr id="763" name="TextBox 762">
              <a:extLst>
                <a:ext uri="{FF2B5EF4-FFF2-40B4-BE49-F238E27FC236}">
                  <a16:creationId xmlns:a16="http://schemas.microsoft.com/office/drawing/2014/main" id="{9F64E213-1D4F-0958-7C1D-CF817D8DACF7}"/>
                </a:ext>
              </a:extLst>
            </p:cNvPr>
            <p:cNvSpPr txBox="1">
              <a:spLocks/>
            </p:cNvSpPr>
            <p:nvPr/>
          </p:nvSpPr>
          <p:spPr>
            <a:xfrm>
              <a:off x="7009870" y="4392686"/>
              <a:ext cx="1309673" cy="594162"/>
            </a:xfrm>
            <a:prstGeom prst="rect">
              <a:avLst/>
            </a:prstGeom>
            <a:noFill/>
          </p:spPr>
          <p:txBody>
            <a:bodyPr wrap="square" lIns="0" tIns="0" rIns="0" bIns="0" rtlCol="0">
              <a:spAutoFit/>
            </a:bodyPr>
            <a:lstStyle/>
            <a:p>
              <a:pPr>
                <a:spcBef>
                  <a:spcPts val="600"/>
                </a:spcBef>
                <a:buSzPct val="100000"/>
              </a:pPr>
              <a:r>
                <a:rPr lang="en-GB" sz="1200" dirty="0">
                  <a:solidFill>
                    <a:srgbClr val="FFFFFF"/>
                  </a:solidFill>
                  <a:cs typeface="Calibri" panose="020F0502020204030204" pitchFamily="34" charset="0"/>
                </a:rPr>
                <a:t>Error caused by well-meant employee</a:t>
              </a:r>
              <a:endParaRPr lang="en-GB" sz="900" dirty="0">
                <a:solidFill>
                  <a:srgbClr val="FFFFFF"/>
                </a:solidFill>
                <a:latin typeface="Calibri" panose="020F0502020204030204" pitchFamily="34" charset="0"/>
                <a:cs typeface="Calibri" panose="020F0502020204030204" pitchFamily="34" charset="0"/>
              </a:endParaRPr>
            </a:p>
          </p:txBody>
        </p:sp>
        <p:sp>
          <p:nvSpPr>
            <p:cNvPr id="767" name="TextBox 766">
              <a:extLst>
                <a:ext uri="{FF2B5EF4-FFF2-40B4-BE49-F238E27FC236}">
                  <a16:creationId xmlns:a16="http://schemas.microsoft.com/office/drawing/2014/main" id="{C28CDACD-F3DE-5DF1-2604-85F0FDA6C46A}"/>
                </a:ext>
              </a:extLst>
            </p:cNvPr>
            <p:cNvSpPr txBox="1"/>
            <p:nvPr/>
          </p:nvSpPr>
          <p:spPr>
            <a:xfrm>
              <a:off x="5488909" y="3189362"/>
              <a:ext cx="1214181" cy="792216"/>
            </a:xfrm>
            <a:prstGeom prst="rect">
              <a:avLst/>
            </a:prstGeom>
            <a:noFill/>
          </p:spPr>
          <p:txBody>
            <a:bodyPr wrap="square" lIns="0" tIns="0" rIns="0" bIns="0" rtlCol="0">
              <a:spAutoFit/>
            </a:bodyPr>
            <a:lstStyle/>
            <a:p>
              <a:pPr algn="ctr">
                <a:spcBef>
                  <a:spcPts val="600"/>
                </a:spcBef>
                <a:buSzPct val="100000"/>
              </a:pPr>
              <a:r>
                <a:rPr lang="en-GB" sz="1600" b="1" dirty="0">
                  <a:latin typeface="+mj-lt"/>
                  <a:cs typeface="Calibri" panose="020F0502020204030204" pitchFamily="34" charset="0"/>
                </a:rPr>
                <a:t>CYBER THREAT LANDSCAPE</a:t>
              </a:r>
            </a:p>
          </p:txBody>
        </p:sp>
      </p:grpSp>
      <p:grpSp>
        <p:nvGrpSpPr>
          <p:cNvPr id="776" name="Graphic 4">
            <a:extLst>
              <a:ext uri="{FF2B5EF4-FFF2-40B4-BE49-F238E27FC236}">
                <a16:creationId xmlns:a16="http://schemas.microsoft.com/office/drawing/2014/main" id="{C2BD6508-7F39-301E-8000-A2C6D88F298F}"/>
              </a:ext>
            </a:extLst>
          </p:cNvPr>
          <p:cNvGrpSpPr>
            <a:grpSpLocks noChangeAspect="1"/>
          </p:cNvGrpSpPr>
          <p:nvPr/>
        </p:nvGrpSpPr>
        <p:grpSpPr>
          <a:xfrm>
            <a:off x="9616592" y="5189643"/>
            <a:ext cx="373228" cy="416793"/>
            <a:chOff x="9962714" y="2432999"/>
            <a:chExt cx="209689" cy="237576"/>
          </a:xfrm>
          <a:solidFill>
            <a:schemeClr val="bg1"/>
          </a:solidFill>
        </p:grpSpPr>
        <p:sp>
          <p:nvSpPr>
            <p:cNvPr id="778" name="Graphic 4">
              <a:extLst>
                <a:ext uri="{FF2B5EF4-FFF2-40B4-BE49-F238E27FC236}">
                  <a16:creationId xmlns:a16="http://schemas.microsoft.com/office/drawing/2014/main" id="{A6F247DA-6C05-57FC-B0AF-6F2DC292DB6F}"/>
                </a:ext>
              </a:extLst>
            </p:cNvPr>
            <p:cNvSpPr/>
            <p:nvPr/>
          </p:nvSpPr>
          <p:spPr>
            <a:xfrm>
              <a:off x="9962714" y="2579923"/>
              <a:ext cx="198490" cy="90652"/>
            </a:xfrm>
            <a:custGeom>
              <a:avLst/>
              <a:gdLst>
                <a:gd name="connsiteX0" fmla="*/ 183228 w 198490"/>
                <a:gd name="connsiteY0" fmla="*/ 3192 h 90652"/>
                <a:gd name="connsiteX1" fmla="*/ 180033 w 198490"/>
                <a:gd name="connsiteY1" fmla="*/ 3830 h 90652"/>
                <a:gd name="connsiteX2" fmla="*/ 165975 w 198490"/>
                <a:gd name="connsiteY2" fmla="*/ 15960 h 90652"/>
                <a:gd name="connsiteX3" fmla="*/ 153195 w 198490"/>
                <a:gd name="connsiteY3" fmla="*/ 49157 h 90652"/>
                <a:gd name="connsiteX4" fmla="*/ 153195 w 198490"/>
                <a:gd name="connsiteY4" fmla="*/ 33835 h 90652"/>
                <a:gd name="connsiteX5" fmla="*/ 119329 w 198490"/>
                <a:gd name="connsiteY5" fmla="*/ 0 h 90652"/>
                <a:gd name="connsiteX6" fmla="*/ 86101 w 198490"/>
                <a:gd name="connsiteY6" fmla="*/ 0 h 90652"/>
                <a:gd name="connsiteX7" fmla="*/ 52234 w 198490"/>
                <a:gd name="connsiteY7" fmla="*/ 33835 h 90652"/>
                <a:gd name="connsiteX8" fmla="*/ 52234 w 198490"/>
                <a:gd name="connsiteY8" fmla="*/ 56179 h 90652"/>
                <a:gd name="connsiteX9" fmla="*/ 33703 w 198490"/>
                <a:gd name="connsiteY9" fmla="*/ 19152 h 90652"/>
                <a:gd name="connsiteX10" fmla="*/ 21562 w 198490"/>
                <a:gd name="connsiteY10" fmla="*/ 9576 h 90652"/>
                <a:gd name="connsiteX11" fmla="*/ 13255 w 198490"/>
                <a:gd name="connsiteY11" fmla="*/ 7661 h 90652"/>
                <a:gd name="connsiteX12" fmla="*/ 2393 w 198490"/>
                <a:gd name="connsiteY12" fmla="*/ 11491 h 90652"/>
                <a:gd name="connsiteX13" fmla="*/ 1115 w 198490"/>
                <a:gd name="connsiteY13" fmla="*/ 22982 h 90652"/>
                <a:gd name="connsiteX14" fmla="*/ 2393 w 198490"/>
                <a:gd name="connsiteY14" fmla="*/ 24897 h 90652"/>
                <a:gd name="connsiteX15" fmla="*/ 14534 w 198490"/>
                <a:gd name="connsiteY15" fmla="*/ 37665 h 90652"/>
                <a:gd name="connsiteX16" fmla="*/ 30508 w 198490"/>
                <a:gd name="connsiteY16" fmla="*/ 86184 h 90652"/>
                <a:gd name="connsiteX17" fmla="*/ 36260 w 198490"/>
                <a:gd name="connsiteY17" fmla="*/ 90653 h 90652"/>
                <a:gd name="connsiteX18" fmla="*/ 38176 w 198490"/>
                <a:gd name="connsiteY18" fmla="*/ 90014 h 90652"/>
                <a:gd name="connsiteX19" fmla="*/ 42010 w 198490"/>
                <a:gd name="connsiteY19" fmla="*/ 81715 h 90652"/>
                <a:gd name="connsiteX20" fmla="*/ 26035 w 198490"/>
                <a:gd name="connsiteY20" fmla="*/ 34473 h 90652"/>
                <a:gd name="connsiteX21" fmla="*/ 52234 w 198490"/>
                <a:gd name="connsiteY21" fmla="*/ 86184 h 90652"/>
                <a:gd name="connsiteX22" fmla="*/ 59263 w 198490"/>
                <a:gd name="connsiteY22" fmla="*/ 89376 h 90652"/>
                <a:gd name="connsiteX23" fmla="*/ 64375 w 198490"/>
                <a:gd name="connsiteY23" fmla="*/ 82992 h 90652"/>
                <a:gd name="connsiteX24" fmla="*/ 64375 w 198490"/>
                <a:gd name="connsiteY24" fmla="*/ 33197 h 90652"/>
                <a:gd name="connsiteX25" fmla="*/ 85462 w 198490"/>
                <a:gd name="connsiteY25" fmla="*/ 12130 h 90652"/>
                <a:gd name="connsiteX26" fmla="*/ 118689 w 198490"/>
                <a:gd name="connsiteY26" fmla="*/ 12130 h 90652"/>
                <a:gd name="connsiteX27" fmla="*/ 139776 w 198490"/>
                <a:gd name="connsiteY27" fmla="*/ 33197 h 90652"/>
                <a:gd name="connsiteX28" fmla="*/ 139776 w 198490"/>
                <a:gd name="connsiteY28" fmla="*/ 82992 h 90652"/>
                <a:gd name="connsiteX29" fmla="*/ 144888 w 198490"/>
                <a:gd name="connsiteY29" fmla="*/ 89376 h 90652"/>
                <a:gd name="connsiteX30" fmla="*/ 151917 w 198490"/>
                <a:gd name="connsiteY30" fmla="*/ 85545 h 90652"/>
                <a:gd name="connsiteX31" fmla="*/ 176838 w 198490"/>
                <a:gd name="connsiteY31" fmla="*/ 20429 h 90652"/>
                <a:gd name="connsiteX32" fmla="*/ 181950 w 198490"/>
                <a:gd name="connsiteY32" fmla="*/ 15960 h 90652"/>
                <a:gd name="connsiteX33" fmla="*/ 183228 w 198490"/>
                <a:gd name="connsiteY33" fmla="*/ 15960 h 90652"/>
                <a:gd name="connsiteX34" fmla="*/ 180672 w 198490"/>
                <a:gd name="connsiteY34" fmla="*/ 17875 h 90652"/>
                <a:gd name="connsiteX35" fmla="*/ 178116 w 198490"/>
                <a:gd name="connsiteY35" fmla="*/ 21067 h 90652"/>
                <a:gd name="connsiteX36" fmla="*/ 161502 w 198490"/>
                <a:gd name="connsiteY36" fmla="*/ 81715 h 90652"/>
                <a:gd name="connsiteX37" fmla="*/ 165975 w 198490"/>
                <a:gd name="connsiteY37" fmla="*/ 89376 h 90652"/>
                <a:gd name="connsiteX38" fmla="*/ 173643 w 198490"/>
                <a:gd name="connsiteY38" fmla="*/ 84907 h 90652"/>
                <a:gd name="connsiteX39" fmla="*/ 189618 w 198490"/>
                <a:gd name="connsiteY39" fmla="*/ 26174 h 90652"/>
                <a:gd name="connsiteX40" fmla="*/ 194730 w 198490"/>
                <a:gd name="connsiteY40" fmla="*/ 22344 h 90652"/>
                <a:gd name="connsiteX41" fmla="*/ 196008 w 198490"/>
                <a:gd name="connsiteY41" fmla="*/ 21067 h 90652"/>
                <a:gd name="connsiteX42" fmla="*/ 196647 w 198490"/>
                <a:gd name="connsiteY42" fmla="*/ 7661 h 90652"/>
                <a:gd name="connsiteX43" fmla="*/ 183228 w 198490"/>
                <a:gd name="connsiteY43" fmla="*/ 3192 h 90652"/>
                <a:gd name="connsiteX44" fmla="*/ 18367 w 198490"/>
                <a:gd name="connsiteY44" fmla="*/ 21706 h 90652"/>
                <a:gd name="connsiteX45" fmla="*/ 19006 w 198490"/>
                <a:gd name="connsiteY45" fmla="*/ 21706 h 90652"/>
                <a:gd name="connsiteX46" fmla="*/ 22840 w 198490"/>
                <a:gd name="connsiteY46" fmla="*/ 24259 h 90652"/>
                <a:gd name="connsiteX47" fmla="*/ 24757 w 198490"/>
                <a:gd name="connsiteY47" fmla="*/ 28089 h 90652"/>
                <a:gd name="connsiteX48" fmla="*/ 18367 w 198490"/>
                <a:gd name="connsiteY48" fmla="*/ 21706 h 90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8490" h="90652">
                  <a:moveTo>
                    <a:pt x="183228" y="3192"/>
                  </a:moveTo>
                  <a:lnTo>
                    <a:pt x="180033" y="3830"/>
                  </a:lnTo>
                  <a:cubicBezTo>
                    <a:pt x="173643" y="5107"/>
                    <a:pt x="168531" y="10214"/>
                    <a:pt x="165975" y="15960"/>
                  </a:cubicBezTo>
                  <a:lnTo>
                    <a:pt x="153195" y="49157"/>
                  </a:lnTo>
                  <a:lnTo>
                    <a:pt x="153195" y="33835"/>
                  </a:lnTo>
                  <a:cubicBezTo>
                    <a:pt x="153195" y="15322"/>
                    <a:pt x="137859" y="0"/>
                    <a:pt x="119329" y="0"/>
                  </a:cubicBezTo>
                  <a:lnTo>
                    <a:pt x="86101" y="0"/>
                  </a:lnTo>
                  <a:cubicBezTo>
                    <a:pt x="67570" y="0"/>
                    <a:pt x="52234" y="15322"/>
                    <a:pt x="52234" y="33835"/>
                  </a:cubicBezTo>
                  <a:lnTo>
                    <a:pt x="52234" y="56179"/>
                  </a:lnTo>
                  <a:lnTo>
                    <a:pt x="33703" y="19152"/>
                  </a:lnTo>
                  <a:cubicBezTo>
                    <a:pt x="31147" y="14683"/>
                    <a:pt x="27313" y="10853"/>
                    <a:pt x="21562" y="9576"/>
                  </a:cubicBezTo>
                  <a:lnTo>
                    <a:pt x="13255" y="7661"/>
                  </a:lnTo>
                  <a:cubicBezTo>
                    <a:pt x="9421" y="6384"/>
                    <a:pt x="4949" y="8299"/>
                    <a:pt x="2393" y="11491"/>
                  </a:cubicBezTo>
                  <a:cubicBezTo>
                    <a:pt x="-164" y="14683"/>
                    <a:pt x="-802" y="19152"/>
                    <a:pt x="1115" y="22982"/>
                  </a:cubicBezTo>
                  <a:cubicBezTo>
                    <a:pt x="1115" y="23621"/>
                    <a:pt x="1754" y="24259"/>
                    <a:pt x="2393" y="24897"/>
                  </a:cubicBezTo>
                  <a:lnTo>
                    <a:pt x="14534" y="37665"/>
                  </a:lnTo>
                  <a:lnTo>
                    <a:pt x="30508" y="86184"/>
                  </a:lnTo>
                  <a:cubicBezTo>
                    <a:pt x="31147" y="88737"/>
                    <a:pt x="33703" y="90653"/>
                    <a:pt x="36260" y="90653"/>
                  </a:cubicBezTo>
                  <a:cubicBezTo>
                    <a:pt x="36898" y="90653"/>
                    <a:pt x="37537" y="90653"/>
                    <a:pt x="38176" y="90014"/>
                  </a:cubicBezTo>
                  <a:cubicBezTo>
                    <a:pt x="41371" y="88737"/>
                    <a:pt x="43288" y="85545"/>
                    <a:pt x="42010" y="81715"/>
                  </a:cubicBezTo>
                  <a:lnTo>
                    <a:pt x="26035" y="34473"/>
                  </a:lnTo>
                  <a:lnTo>
                    <a:pt x="52234" y="86184"/>
                  </a:lnTo>
                  <a:cubicBezTo>
                    <a:pt x="53512" y="88737"/>
                    <a:pt x="56707" y="90014"/>
                    <a:pt x="59263" y="89376"/>
                  </a:cubicBezTo>
                  <a:cubicBezTo>
                    <a:pt x="62458" y="88737"/>
                    <a:pt x="64375" y="86184"/>
                    <a:pt x="64375" y="82992"/>
                  </a:cubicBezTo>
                  <a:lnTo>
                    <a:pt x="64375" y="33197"/>
                  </a:lnTo>
                  <a:cubicBezTo>
                    <a:pt x="64375" y="21706"/>
                    <a:pt x="73960" y="12130"/>
                    <a:pt x="85462" y="12130"/>
                  </a:cubicBezTo>
                  <a:lnTo>
                    <a:pt x="118689" y="12130"/>
                  </a:lnTo>
                  <a:cubicBezTo>
                    <a:pt x="130191" y="12130"/>
                    <a:pt x="139776" y="21706"/>
                    <a:pt x="139776" y="33197"/>
                  </a:cubicBezTo>
                  <a:lnTo>
                    <a:pt x="139776" y="82992"/>
                  </a:lnTo>
                  <a:cubicBezTo>
                    <a:pt x="139776" y="86184"/>
                    <a:pt x="141694" y="88737"/>
                    <a:pt x="144888" y="89376"/>
                  </a:cubicBezTo>
                  <a:cubicBezTo>
                    <a:pt x="148083" y="90014"/>
                    <a:pt x="150639" y="88099"/>
                    <a:pt x="151917" y="85545"/>
                  </a:cubicBezTo>
                  <a:lnTo>
                    <a:pt x="176838" y="20429"/>
                  </a:lnTo>
                  <a:cubicBezTo>
                    <a:pt x="177477" y="18514"/>
                    <a:pt x="179394" y="16598"/>
                    <a:pt x="181950" y="15960"/>
                  </a:cubicBezTo>
                  <a:lnTo>
                    <a:pt x="183228" y="15960"/>
                  </a:lnTo>
                  <a:lnTo>
                    <a:pt x="180672" y="17875"/>
                  </a:lnTo>
                  <a:cubicBezTo>
                    <a:pt x="179394" y="18514"/>
                    <a:pt x="178755" y="19790"/>
                    <a:pt x="178116" y="21067"/>
                  </a:cubicBezTo>
                  <a:lnTo>
                    <a:pt x="161502" y="81715"/>
                  </a:lnTo>
                  <a:cubicBezTo>
                    <a:pt x="160863" y="84907"/>
                    <a:pt x="162780" y="88737"/>
                    <a:pt x="165975" y="89376"/>
                  </a:cubicBezTo>
                  <a:cubicBezTo>
                    <a:pt x="169170" y="90014"/>
                    <a:pt x="173004" y="88099"/>
                    <a:pt x="173643" y="84907"/>
                  </a:cubicBezTo>
                  <a:lnTo>
                    <a:pt x="189618" y="26174"/>
                  </a:lnTo>
                  <a:lnTo>
                    <a:pt x="194730" y="22344"/>
                  </a:lnTo>
                  <a:cubicBezTo>
                    <a:pt x="195368" y="21706"/>
                    <a:pt x="196008" y="21706"/>
                    <a:pt x="196008" y="21067"/>
                  </a:cubicBezTo>
                  <a:cubicBezTo>
                    <a:pt x="199203" y="16598"/>
                    <a:pt x="199203" y="11491"/>
                    <a:pt x="196647" y="7661"/>
                  </a:cubicBezTo>
                  <a:cubicBezTo>
                    <a:pt x="195368" y="3830"/>
                    <a:pt x="188978" y="1277"/>
                    <a:pt x="183228" y="3192"/>
                  </a:cubicBezTo>
                  <a:close/>
                  <a:moveTo>
                    <a:pt x="18367" y="21706"/>
                  </a:moveTo>
                  <a:lnTo>
                    <a:pt x="19006" y="21706"/>
                  </a:lnTo>
                  <a:cubicBezTo>
                    <a:pt x="20285" y="22344"/>
                    <a:pt x="21562" y="22982"/>
                    <a:pt x="22840" y="24259"/>
                  </a:cubicBezTo>
                  <a:lnTo>
                    <a:pt x="24757" y="28089"/>
                  </a:lnTo>
                  <a:lnTo>
                    <a:pt x="18367" y="21706"/>
                  </a:ln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79" name="Graphic 4">
              <a:extLst>
                <a:ext uri="{FF2B5EF4-FFF2-40B4-BE49-F238E27FC236}">
                  <a16:creationId xmlns:a16="http://schemas.microsoft.com/office/drawing/2014/main" id="{E4C9BFC3-0BE8-B2AE-ECA5-09174200925E}"/>
                </a:ext>
              </a:extLst>
            </p:cNvPr>
            <p:cNvSpPr/>
            <p:nvPr/>
          </p:nvSpPr>
          <p:spPr>
            <a:xfrm>
              <a:off x="10032201" y="2502683"/>
              <a:ext cx="67733" cy="67670"/>
            </a:xfrm>
            <a:custGeom>
              <a:avLst/>
              <a:gdLst>
                <a:gd name="connsiteX0" fmla="*/ 33867 w 67733"/>
                <a:gd name="connsiteY0" fmla="*/ 67670 h 67670"/>
                <a:gd name="connsiteX1" fmla="*/ 67733 w 67733"/>
                <a:gd name="connsiteY1" fmla="*/ 33835 h 67670"/>
                <a:gd name="connsiteX2" fmla="*/ 33867 w 67733"/>
                <a:gd name="connsiteY2" fmla="*/ 0 h 67670"/>
                <a:gd name="connsiteX3" fmla="*/ 0 w 67733"/>
                <a:gd name="connsiteY3" fmla="*/ 33835 h 67670"/>
                <a:gd name="connsiteX4" fmla="*/ 33867 w 67733"/>
                <a:gd name="connsiteY4" fmla="*/ 67670 h 67670"/>
                <a:gd name="connsiteX5" fmla="*/ 33867 w 67733"/>
                <a:gd name="connsiteY5" fmla="*/ 12768 h 67670"/>
                <a:gd name="connsiteX6" fmla="*/ 54953 w 67733"/>
                <a:gd name="connsiteY6" fmla="*/ 33835 h 67670"/>
                <a:gd name="connsiteX7" fmla="*/ 33867 w 67733"/>
                <a:gd name="connsiteY7" fmla="*/ 54902 h 67670"/>
                <a:gd name="connsiteX8" fmla="*/ 12780 w 67733"/>
                <a:gd name="connsiteY8" fmla="*/ 33835 h 67670"/>
                <a:gd name="connsiteX9" fmla="*/ 33867 w 67733"/>
                <a:gd name="connsiteY9" fmla="*/ 12768 h 67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733" h="67670">
                  <a:moveTo>
                    <a:pt x="33867" y="67670"/>
                  </a:moveTo>
                  <a:cubicBezTo>
                    <a:pt x="52397" y="67670"/>
                    <a:pt x="67733" y="52349"/>
                    <a:pt x="67733" y="33835"/>
                  </a:cubicBezTo>
                  <a:cubicBezTo>
                    <a:pt x="67733" y="15322"/>
                    <a:pt x="52397" y="0"/>
                    <a:pt x="33867" y="0"/>
                  </a:cubicBezTo>
                  <a:cubicBezTo>
                    <a:pt x="15336" y="0"/>
                    <a:pt x="0" y="15322"/>
                    <a:pt x="0" y="33835"/>
                  </a:cubicBezTo>
                  <a:cubicBezTo>
                    <a:pt x="0" y="52349"/>
                    <a:pt x="15336" y="67670"/>
                    <a:pt x="33867" y="67670"/>
                  </a:cubicBezTo>
                  <a:close/>
                  <a:moveTo>
                    <a:pt x="33867" y="12768"/>
                  </a:moveTo>
                  <a:cubicBezTo>
                    <a:pt x="45368" y="12768"/>
                    <a:pt x="54953" y="22344"/>
                    <a:pt x="54953" y="33835"/>
                  </a:cubicBezTo>
                  <a:cubicBezTo>
                    <a:pt x="54953" y="45326"/>
                    <a:pt x="45368" y="54902"/>
                    <a:pt x="33867" y="54902"/>
                  </a:cubicBezTo>
                  <a:cubicBezTo>
                    <a:pt x="22365" y="54902"/>
                    <a:pt x="12780" y="45326"/>
                    <a:pt x="12780" y="33835"/>
                  </a:cubicBezTo>
                  <a:cubicBezTo>
                    <a:pt x="12780" y="22344"/>
                    <a:pt x="22365" y="12768"/>
                    <a:pt x="33867" y="12768"/>
                  </a:cubicBez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80" name="Graphic 4">
              <a:extLst>
                <a:ext uri="{FF2B5EF4-FFF2-40B4-BE49-F238E27FC236}">
                  <a16:creationId xmlns:a16="http://schemas.microsoft.com/office/drawing/2014/main" id="{6CC6A03B-F133-4BCE-8309-B0D7F1C130B9}"/>
                </a:ext>
              </a:extLst>
            </p:cNvPr>
            <p:cNvSpPr/>
            <p:nvPr/>
          </p:nvSpPr>
          <p:spPr>
            <a:xfrm>
              <a:off x="9963479" y="2499781"/>
              <a:ext cx="53185" cy="30991"/>
            </a:xfrm>
            <a:custGeom>
              <a:avLst/>
              <a:gdLst>
                <a:gd name="connsiteX0" fmla="*/ 14407 w 53185"/>
                <a:gd name="connsiteY0" fmla="*/ 25246 h 30991"/>
                <a:gd name="connsiteX1" fmla="*/ 21436 w 53185"/>
                <a:gd name="connsiteY1" fmla="*/ 27162 h 30991"/>
                <a:gd name="connsiteX2" fmla="*/ 38050 w 53185"/>
                <a:gd name="connsiteY2" fmla="*/ 21416 h 30991"/>
                <a:gd name="connsiteX3" fmla="*/ 41884 w 53185"/>
                <a:gd name="connsiteY3" fmla="*/ 27800 h 30991"/>
                <a:gd name="connsiteX4" fmla="*/ 46996 w 53185"/>
                <a:gd name="connsiteY4" fmla="*/ 30992 h 30991"/>
                <a:gd name="connsiteX5" fmla="*/ 50191 w 53185"/>
                <a:gd name="connsiteY5" fmla="*/ 29715 h 30991"/>
                <a:gd name="connsiteX6" fmla="*/ 52108 w 53185"/>
                <a:gd name="connsiteY6" fmla="*/ 20778 h 30991"/>
                <a:gd name="connsiteX7" fmla="*/ 45718 w 53185"/>
                <a:gd name="connsiteY7" fmla="*/ 10563 h 30991"/>
                <a:gd name="connsiteX8" fmla="*/ 38050 w 53185"/>
                <a:gd name="connsiteY8" fmla="*/ 8010 h 30991"/>
                <a:gd name="connsiteX9" fmla="*/ 20797 w 53185"/>
                <a:gd name="connsiteY9" fmla="*/ 14394 h 30991"/>
                <a:gd name="connsiteX10" fmla="*/ 11212 w 53185"/>
                <a:gd name="connsiteY10" fmla="*/ 2264 h 30991"/>
                <a:gd name="connsiteX11" fmla="*/ 2266 w 53185"/>
                <a:gd name="connsiteY11" fmla="*/ 1626 h 30991"/>
                <a:gd name="connsiteX12" fmla="*/ 1627 w 53185"/>
                <a:gd name="connsiteY12" fmla="*/ 10563 h 30991"/>
                <a:gd name="connsiteX13" fmla="*/ 14407 w 53185"/>
                <a:gd name="connsiteY13" fmla="*/ 25246 h 3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185" h="30991">
                  <a:moveTo>
                    <a:pt x="14407" y="25246"/>
                  </a:moveTo>
                  <a:cubicBezTo>
                    <a:pt x="16324" y="27162"/>
                    <a:pt x="18880" y="28438"/>
                    <a:pt x="21436" y="27162"/>
                  </a:cubicBezTo>
                  <a:lnTo>
                    <a:pt x="38050" y="21416"/>
                  </a:lnTo>
                  <a:lnTo>
                    <a:pt x="41884" y="27800"/>
                  </a:lnTo>
                  <a:cubicBezTo>
                    <a:pt x="43162" y="29715"/>
                    <a:pt x="45079" y="30992"/>
                    <a:pt x="46996" y="30992"/>
                  </a:cubicBezTo>
                  <a:cubicBezTo>
                    <a:pt x="48274" y="30992"/>
                    <a:pt x="49552" y="30992"/>
                    <a:pt x="50191" y="29715"/>
                  </a:cubicBezTo>
                  <a:cubicBezTo>
                    <a:pt x="53386" y="27800"/>
                    <a:pt x="54024" y="23970"/>
                    <a:pt x="52108" y="20778"/>
                  </a:cubicBezTo>
                  <a:lnTo>
                    <a:pt x="45718" y="10563"/>
                  </a:lnTo>
                  <a:cubicBezTo>
                    <a:pt x="44440" y="8010"/>
                    <a:pt x="41245" y="6733"/>
                    <a:pt x="38050" y="8010"/>
                  </a:cubicBezTo>
                  <a:lnTo>
                    <a:pt x="20797" y="14394"/>
                  </a:lnTo>
                  <a:lnTo>
                    <a:pt x="11212" y="2264"/>
                  </a:lnTo>
                  <a:cubicBezTo>
                    <a:pt x="9295" y="-290"/>
                    <a:pt x="4822" y="-928"/>
                    <a:pt x="2266" y="1626"/>
                  </a:cubicBezTo>
                  <a:cubicBezTo>
                    <a:pt x="-290" y="3541"/>
                    <a:pt x="-929" y="8010"/>
                    <a:pt x="1627" y="10563"/>
                  </a:cubicBezTo>
                  <a:lnTo>
                    <a:pt x="14407" y="25246"/>
                  </a:ln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81" name="Graphic 4">
              <a:extLst>
                <a:ext uri="{FF2B5EF4-FFF2-40B4-BE49-F238E27FC236}">
                  <a16:creationId xmlns:a16="http://schemas.microsoft.com/office/drawing/2014/main" id="{D2BA66ED-30F1-A48B-C464-57A16FEF8FD9}"/>
                </a:ext>
              </a:extLst>
            </p:cNvPr>
            <p:cNvSpPr/>
            <p:nvPr/>
          </p:nvSpPr>
          <p:spPr>
            <a:xfrm>
              <a:off x="9966035" y="2524040"/>
              <a:ext cx="42962" cy="26523"/>
            </a:xfrm>
            <a:custGeom>
              <a:avLst/>
              <a:gdLst>
                <a:gd name="connsiteX0" fmla="*/ 29743 w 42962"/>
                <a:gd name="connsiteY0" fmla="*/ 6094 h 26523"/>
                <a:gd name="connsiteX1" fmla="*/ 17602 w 42962"/>
                <a:gd name="connsiteY1" fmla="*/ 10563 h 26523"/>
                <a:gd name="connsiteX2" fmla="*/ 11212 w 42962"/>
                <a:gd name="connsiteY2" fmla="*/ 2264 h 26523"/>
                <a:gd name="connsiteX3" fmla="*/ 2266 w 42962"/>
                <a:gd name="connsiteY3" fmla="*/ 1626 h 26523"/>
                <a:gd name="connsiteX4" fmla="*/ 1627 w 42962"/>
                <a:gd name="connsiteY4" fmla="*/ 10563 h 26523"/>
                <a:gd name="connsiteX5" fmla="*/ 11212 w 42962"/>
                <a:gd name="connsiteY5" fmla="*/ 22054 h 26523"/>
                <a:gd name="connsiteX6" fmla="*/ 18241 w 42962"/>
                <a:gd name="connsiteY6" fmla="*/ 23970 h 26523"/>
                <a:gd name="connsiteX7" fmla="*/ 29743 w 42962"/>
                <a:gd name="connsiteY7" fmla="*/ 20139 h 26523"/>
                <a:gd name="connsiteX8" fmla="*/ 31660 w 42962"/>
                <a:gd name="connsiteY8" fmla="*/ 23331 h 26523"/>
                <a:gd name="connsiteX9" fmla="*/ 36772 w 42962"/>
                <a:gd name="connsiteY9" fmla="*/ 26523 h 26523"/>
                <a:gd name="connsiteX10" fmla="*/ 39967 w 42962"/>
                <a:gd name="connsiteY10" fmla="*/ 25246 h 26523"/>
                <a:gd name="connsiteX11" fmla="*/ 41883 w 42962"/>
                <a:gd name="connsiteY11" fmla="*/ 16309 h 26523"/>
                <a:gd name="connsiteX12" fmla="*/ 36772 w 42962"/>
                <a:gd name="connsiteY12" fmla="*/ 8648 h 26523"/>
                <a:gd name="connsiteX13" fmla="*/ 29743 w 42962"/>
                <a:gd name="connsiteY13" fmla="*/ 6094 h 26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962" h="26523">
                  <a:moveTo>
                    <a:pt x="29743" y="6094"/>
                  </a:moveTo>
                  <a:lnTo>
                    <a:pt x="17602" y="10563"/>
                  </a:lnTo>
                  <a:lnTo>
                    <a:pt x="11212" y="2264"/>
                  </a:lnTo>
                  <a:cubicBezTo>
                    <a:pt x="9295" y="-290"/>
                    <a:pt x="4822" y="-928"/>
                    <a:pt x="2266" y="1626"/>
                  </a:cubicBezTo>
                  <a:cubicBezTo>
                    <a:pt x="-290" y="3541"/>
                    <a:pt x="-929" y="8010"/>
                    <a:pt x="1627" y="10563"/>
                  </a:cubicBezTo>
                  <a:lnTo>
                    <a:pt x="11212" y="22054"/>
                  </a:lnTo>
                  <a:cubicBezTo>
                    <a:pt x="13129" y="23970"/>
                    <a:pt x="15685" y="25246"/>
                    <a:pt x="18241" y="23970"/>
                  </a:cubicBezTo>
                  <a:lnTo>
                    <a:pt x="29743" y="20139"/>
                  </a:lnTo>
                  <a:lnTo>
                    <a:pt x="31660" y="23331"/>
                  </a:lnTo>
                  <a:cubicBezTo>
                    <a:pt x="32938" y="25246"/>
                    <a:pt x="34855" y="26523"/>
                    <a:pt x="36772" y="26523"/>
                  </a:cubicBezTo>
                  <a:cubicBezTo>
                    <a:pt x="38050" y="26523"/>
                    <a:pt x="39328" y="26523"/>
                    <a:pt x="39967" y="25246"/>
                  </a:cubicBezTo>
                  <a:cubicBezTo>
                    <a:pt x="43162" y="23331"/>
                    <a:pt x="43801" y="19501"/>
                    <a:pt x="41883" y="16309"/>
                  </a:cubicBezTo>
                  <a:lnTo>
                    <a:pt x="36772" y="8648"/>
                  </a:lnTo>
                  <a:cubicBezTo>
                    <a:pt x="36133" y="6094"/>
                    <a:pt x="32938" y="4818"/>
                    <a:pt x="29743" y="6094"/>
                  </a:cubicBez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82" name="Graphic 4">
              <a:extLst>
                <a:ext uri="{FF2B5EF4-FFF2-40B4-BE49-F238E27FC236}">
                  <a16:creationId xmlns:a16="http://schemas.microsoft.com/office/drawing/2014/main" id="{77DFB6B3-0BD2-2466-5673-8CF282DCFC4A}"/>
                </a:ext>
              </a:extLst>
            </p:cNvPr>
            <p:cNvSpPr/>
            <p:nvPr/>
          </p:nvSpPr>
          <p:spPr>
            <a:xfrm>
              <a:off x="10111675" y="2502683"/>
              <a:ext cx="56893" cy="30004"/>
            </a:xfrm>
            <a:custGeom>
              <a:avLst/>
              <a:gdLst>
                <a:gd name="connsiteX0" fmla="*/ 4234 w 56893"/>
                <a:gd name="connsiteY0" fmla="*/ 22344 h 30004"/>
                <a:gd name="connsiteX1" fmla="*/ 22765 w 56893"/>
                <a:gd name="connsiteY1" fmla="*/ 29366 h 30004"/>
                <a:gd name="connsiteX2" fmla="*/ 24682 w 56893"/>
                <a:gd name="connsiteY2" fmla="*/ 30005 h 30004"/>
                <a:gd name="connsiteX3" fmla="*/ 29794 w 56893"/>
                <a:gd name="connsiteY3" fmla="*/ 27451 h 30004"/>
                <a:gd name="connsiteX4" fmla="*/ 41296 w 56893"/>
                <a:gd name="connsiteY4" fmla="*/ 14045 h 30004"/>
                <a:gd name="connsiteX5" fmla="*/ 47686 w 56893"/>
                <a:gd name="connsiteY5" fmla="*/ 17237 h 30004"/>
                <a:gd name="connsiteX6" fmla="*/ 55992 w 56893"/>
                <a:gd name="connsiteY6" fmla="*/ 14683 h 30004"/>
                <a:gd name="connsiteX7" fmla="*/ 53437 w 56893"/>
                <a:gd name="connsiteY7" fmla="*/ 6384 h 30004"/>
                <a:gd name="connsiteX8" fmla="*/ 42574 w 56893"/>
                <a:gd name="connsiteY8" fmla="*/ 638 h 30004"/>
                <a:gd name="connsiteX9" fmla="*/ 34906 w 56893"/>
                <a:gd name="connsiteY9" fmla="*/ 2554 h 30004"/>
                <a:gd name="connsiteX10" fmla="*/ 23404 w 56893"/>
                <a:gd name="connsiteY10" fmla="*/ 16598 h 30004"/>
                <a:gd name="connsiteX11" fmla="*/ 8707 w 56893"/>
                <a:gd name="connsiteY11" fmla="*/ 11491 h 30004"/>
                <a:gd name="connsiteX12" fmla="*/ 400 w 56893"/>
                <a:gd name="connsiteY12" fmla="*/ 15322 h 30004"/>
                <a:gd name="connsiteX13" fmla="*/ 4234 w 56893"/>
                <a:gd name="connsiteY13" fmla="*/ 22344 h 3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6893" h="30004">
                  <a:moveTo>
                    <a:pt x="4234" y="22344"/>
                  </a:moveTo>
                  <a:lnTo>
                    <a:pt x="22765" y="29366"/>
                  </a:lnTo>
                  <a:cubicBezTo>
                    <a:pt x="23404" y="29366"/>
                    <a:pt x="24043" y="30005"/>
                    <a:pt x="24682" y="30005"/>
                  </a:cubicBezTo>
                  <a:cubicBezTo>
                    <a:pt x="26599" y="30005"/>
                    <a:pt x="28516" y="29366"/>
                    <a:pt x="29794" y="27451"/>
                  </a:cubicBezTo>
                  <a:lnTo>
                    <a:pt x="41296" y="14045"/>
                  </a:lnTo>
                  <a:lnTo>
                    <a:pt x="47686" y="17237"/>
                  </a:lnTo>
                  <a:cubicBezTo>
                    <a:pt x="50881" y="19152"/>
                    <a:pt x="54715" y="17875"/>
                    <a:pt x="55992" y="14683"/>
                  </a:cubicBezTo>
                  <a:cubicBezTo>
                    <a:pt x="57910" y="11491"/>
                    <a:pt x="56632" y="7661"/>
                    <a:pt x="53437" y="6384"/>
                  </a:cubicBezTo>
                  <a:lnTo>
                    <a:pt x="42574" y="638"/>
                  </a:lnTo>
                  <a:cubicBezTo>
                    <a:pt x="40018" y="-638"/>
                    <a:pt x="36823" y="0"/>
                    <a:pt x="34906" y="2554"/>
                  </a:cubicBezTo>
                  <a:lnTo>
                    <a:pt x="23404" y="16598"/>
                  </a:lnTo>
                  <a:lnTo>
                    <a:pt x="8707" y="11491"/>
                  </a:lnTo>
                  <a:cubicBezTo>
                    <a:pt x="5512" y="10214"/>
                    <a:pt x="1678" y="12130"/>
                    <a:pt x="400" y="15322"/>
                  </a:cubicBezTo>
                  <a:cubicBezTo>
                    <a:pt x="-877" y="17237"/>
                    <a:pt x="1039" y="21067"/>
                    <a:pt x="4234" y="22344"/>
                  </a:cubicBez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83" name="Graphic 4">
              <a:extLst>
                <a:ext uri="{FF2B5EF4-FFF2-40B4-BE49-F238E27FC236}">
                  <a16:creationId xmlns:a16="http://schemas.microsoft.com/office/drawing/2014/main" id="{3F59326B-A740-327E-7BD2-6B26C7E60AA2}"/>
                </a:ext>
              </a:extLst>
            </p:cNvPr>
            <p:cNvSpPr/>
            <p:nvPr/>
          </p:nvSpPr>
          <p:spPr>
            <a:xfrm>
              <a:off x="10126373" y="2524388"/>
              <a:ext cx="46030" cy="26174"/>
            </a:xfrm>
            <a:custGeom>
              <a:avLst/>
              <a:gdLst>
                <a:gd name="connsiteX0" fmla="*/ 42574 w 46030"/>
                <a:gd name="connsiteY0" fmla="*/ 5107 h 26174"/>
                <a:gd name="connsiteX1" fmla="*/ 34267 w 46030"/>
                <a:gd name="connsiteY1" fmla="*/ 638 h 26174"/>
                <a:gd name="connsiteX2" fmla="*/ 26599 w 46030"/>
                <a:gd name="connsiteY2" fmla="*/ 2554 h 26174"/>
                <a:gd name="connsiteX3" fmla="*/ 18292 w 46030"/>
                <a:gd name="connsiteY3" fmla="*/ 12130 h 26174"/>
                <a:gd name="connsiteX4" fmla="*/ 8707 w 46030"/>
                <a:gd name="connsiteY4" fmla="*/ 8299 h 26174"/>
                <a:gd name="connsiteX5" fmla="*/ 401 w 46030"/>
                <a:gd name="connsiteY5" fmla="*/ 12130 h 26174"/>
                <a:gd name="connsiteX6" fmla="*/ 4234 w 46030"/>
                <a:gd name="connsiteY6" fmla="*/ 20429 h 26174"/>
                <a:gd name="connsiteX7" fmla="*/ 18292 w 46030"/>
                <a:gd name="connsiteY7" fmla="*/ 25536 h 26174"/>
                <a:gd name="connsiteX8" fmla="*/ 20209 w 46030"/>
                <a:gd name="connsiteY8" fmla="*/ 26174 h 26174"/>
                <a:gd name="connsiteX9" fmla="*/ 25321 w 46030"/>
                <a:gd name="connsiteY9" fmla="*/ 23621 h 26174"/>
                <a:gd name="connsiteX10" fmla="*/ 32989 w 46030"/>
                <a:gd name="connsiteY10" fmla="*/ 14683 h 26174"/>
                <a:gd name="connsiteX11" fmla="*/ 36823 w 46030"/>
                <a:gd name="connsiteY11" fmla="*/ 16598 h 26174"/>
                <a:gd name="connsiteX12" fmla="*/ 45130 w 46030"/>
                <a:gd name="connsiteY12" fmla="*/ 14045 h 26174"/>
                <a:gd name="connsiteX13" fmla="*/ 42574 w 46030"/>
                <a:gd name="connsiteY13" fmla="*/ 5107 h 2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030" h="26174">
                  <a:moveTo>
                    <a:pt x="42574" y="5107"/>
                  </a:moveTo>
                  <a:lnTo>
                    <a:pt x="34267" y="638"/>
                  </a:lnTo>
                  <a:cubicBezTo>
                    <a:pt x="31711" y="-638"/>
                    <a:pt x="28516" y="0"/>
                    <a:pt x="26599" y="2554"/>
                  </a:cubicBezTo>
                  <a:lnTo>
                    <a:pt x="18292" y="12130"/>
                  </a:lnTo>
                  <a:lnTo>
                    <a:pt x="8707" y="8299"/>
                  </a:lnTo>
                  <a:cubicBezTo>
                    <a:pt x="5512" y="7022"/>
                    <a:pt x="1678" y="8938"/>
                    <a:pt x="401" y="12130"/>
                  </a:cubicBezTo>
                  <a:cubicBezTo>
                    <a:pt x="-878" y="15322"/>
                    <a:pt x="1039" y="19152"/>
                    <a:pt x="4234" y="20429"/>
                  </a:cubicBezTo>
                  <a:lnTo>
                    <a:pt x="18292" y="25536"/>
                  </a:lnTo>
                  <a:cubicBezTo>
                    <a:pt x="18931" y="25536"/>
                    <a:pt x="19570" y="26174"/>
                    <a:pt x="20209" y="26174"/>
                  </a:cubicBezTo>
                  <a:cubicBezTo>
                    <a:pt x="22126" y="26174"/>
                    <a:pt x="24043" y="25536"/>
                    <a:pt x="25321" y="23621"/>
                  </a:cubicBezTo>
                  <a:lnTo>
                    <a:pt x="32989" y="14683"/>
                  </a:lnTo>
                  <a:lnTo>
                    <a:pt x="36823" y="16598"/>
                  </a:lnTo>
                  <a:cubicBezTo>
                    <a:pt x="40018" y="18514"/>
                    <a:pt x="43852" y="17237"/>
                    <a:pt x="45130" y="14045"/>
                  </a:cubicBezTo>
                  <a:cubicBezTo>
                    <a:pt x="47047" y="10214"/>
                    <a:pt x="45769" y="6384"/>
                    <a:pt x="42574" y="5107"/>
                  </a:cubicBez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84" name="Graphic 4">
              <a:extLst>
                <a:ext uri="{FF2B5EF4-FFF2-40B4-BE49-F238E27FC236}">
                  <a16:creationId xmlns:a16="http://schemas.microsoft.com/office/drawing/2014/main" id="{25126CEA-E283-3905-EE49-EB7BA3E65B53}"/>
                </a:ext>
              </a:extLst>
            </p:cNvPr>
            <p:cNvSpPr/>
            <p:nvPr/>
          </p:nvSpPr>
          <p:spPr>
            <a:xfrm>
              <a:off x="10054064" y="2432999"/>
              <a:ext cx="33252" cy="55639"/>
            </a:xfrm>
            <a:custGeom>
              <a:avLst/>
              <a:gdLst>
                <a:gd name="connsiteX0" fmla="*/ 3057 w 33252"/>
                <a:gd name="connsiteY0" fmla="*/ 32657 h 55639"/>
                <a:gd name="connsiteX1" fmla="*/ 18393 w 33252"/>
                <a:gd name="connsiteY1" fmla="*/ 40956 h 55639"/>
                <a:gd name="connsiteX2" fmla="*/ 16476 w 33252"/>
                <a:gd name="connsiteY2" fmla="*/ 47978 h 55639"/>
                <a:gd name="connsiteX3" fmla="*/ 20949 w 33252"/>
                <a:gd name="connsiteY3" fmla="*/ 55639 h 55639"/>
                <a:gd name="connsiteX4" fmla="*/ 22866 w 33252"/>
                <a:gd name="connsiteY4" fmla="*/ 55639 h 55639"/>
                <a:gd name="connsiteX5" fmla="*/ 29256 w 33252"/>
                <a:gd name="connsiteY5" fmla="*/ 51170 h 55639"/>
                <a:gd name="connsiteX6" fmla="*/ 33090 w 33252"/>
                <a:gd name="connsiteY6" fmla="*/ 39679 h 55639"/>
                <a:gd name="connsiteX7" fmla="*/ 29895 w 33252"/>
                <a:gd name="connsiteY7" fmla="*/ 32018 h 55639"/>
                <a:gd name="connsiteX8" fmla="*/ 13920 w 33252"/>
                <a:gd name="connsiteY8" fmla="*/ 23081 h 55639"/>
                <a:gd name="connsiteX9" fmla="*/ 16476 w 33252"/>
                <a:gd name="connsiteY9" fmla="*/ 7759 h 55639"/>
                <a:gd name="connsiteX10" fmla="*/ 11364 w 33252"/>
                <a:gd name="connsiteY10" fmla="*/ 98 h 55639"/>
                <a:gd name="connsiteX11" fmla="*/ 3696 w 33252"/>
                <a:gd name="connsiteY11" fmla="*/ 5206 h 55639"/>
                <a:gd name="connsiteX12" fmla="*/ 501 w 33252"/>
                <a:gd name="connsiteY12" fmla="*/ 24996 h 55639"/>
                <a:gd name="connsiteX13" fmla="*/ 3057 w 33252"/>
                <a:gd name="connsiteY13" fmla="*/ 32657 h 5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252" h="55639">
                  <a:moveTo>
                    <a:pt x="3057" y="32657"/>
                  </a:moveTo>
                  <a:lnTo>
                    <a:pt x="18393" y="40956"/>
                  </a:lnTo>
                  <a:lnTo>
                    <a:pt x="16476" y="47978"/>
                  </a:lnTo>
                  <a:cubicBezTo>
                    <a:pt x="15198" y="51170"/>
                    <a:pt x="17115" y="55001"/>
                    <a:pt x="20949" y="55639"/>
                  </a:cubicBezTo>
                  <a:cubicBezTo>
                    <a:pt x="21588" y="55639"/>
                    <a:pt x="22227" y="55639"/>
                    <a:pt x="22866" y="55639"/>
                  </a:cubicBezTo>
                  <a:cubicBezTo>
                    <a:pt x="25422" y="55639"/>
                    <a:pt x="27978" y="53724"/>
                    <a:pt x="29256" y="51170"/>
                  </a:cubicBezTo>
                  <a:lnTo>
                    <a:pt x="33090" y="39679"/>
                  </a:lnTo>
                  <a:cubicBezTo>
                    <a:pt x="33729" y="37126"/>
                    <a:pt x="32451" y="33934"/>
                    <a:pt x="29895" y="32018"/>
                  </a:cubicBezTo>
                  <a:lnTo>
                    <a:pt x="13920" y="23081"/>
                  </a:lnTo>
                  <a:lnTo>
                    <a:pt x="16476" y="7759"/>
                  </a:lnTo>
                  <a:cubicBezTo>
                    <a:pt x="17115" y="4567"/>
                    <a:pt x="14559" y="737"/>
                    <a:pt x="11364" y="98"/>
                  </a:cubicBezTo>
                  <a:cubicBezTo>
                    <a:pt x="8169" y="-540"/>
                    <a:pt x="4335" y="2014"/>
                    <a:pt x="3696" y="5206"/>
                  </a:cubicBezTo>
                  <a:lnTo>
                    <a:pt x="501" y="24996"/>
                  </a:lnTo>
                  <a:cubicBezTo>
                    <a:pt x="-776" y="28826"/>
                    <a:pt x="501" y="31380"/>
                    <a:pt x="3057" y="32657"/>
                  </a:cubicBez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85" name="Graphic 4">
              <a:extLst>
                <a:ext uri="{FF2B5EF4-FFF2-40B4-BE49-F238E27FC236}">
                  <a16:creationId xmlns:a16="http://schemas.microsoft.com/office/drawing/2014/main" id="{CDFFCA80-AF7C-5475-455A-A0EC59B7E447}"/>
                </a:ext>
              </a:extLst>
            </p:cNvPr>
            <p:cNvSpPr/>
            <p:nvPr/>
          </p:nvSpPr>
          <p:spPr>
            <a:xfrm>
              <a:off x="10037312" y="2450867"/>
              <a:ext cx="27640" cy="45425"/>
            </a:xfrm>
            <a:custGeom>
              <a:avLst/>
              <a:gdLst>
                <a:gd name="connsiteX0" fmla="*/ 3195 w 27639"/>
                <a:gd name="connsiteY0" fmla="*/ 28188 h 45424"/>
                <a:gd name="connsiteX1" fmla="*/ 13419 w 27639"/>
                <a:gd name="connsiteY1" fmla="*/ 33934 h 45424"/>
                <a:gd name="connsiteX2" fmla="*/ 12140 w 27639"/>
                <a:gd name="connsiteY2" fmla="*/ 37764 h 45424"/>
                <a:gd name="connsiteX3" fmla="*/ 16614 w 27639"/>
                <a:gd name="connsiteY3" fmla="*/ 45425 h 45424"/>
                <a:gd name="connsiteX4" fmla="*/ 18530 w 27639"/>
                <a:gd name="connsiteY4" fmla="*/ 45425 h 45424"/>
                <a:gd name="connsiteX5" fmla="*/ 24920 w 27639"/>
                <a:gd name="connsiteY5" fmla="*/ 40956 h 45424"/>
                <a:gd name="connsiteX6" fmla="*/ 27476 w 27639"/>
                <a:gd name="connsiteY6" fmla="*/ 32018 h 45424"/>
                <a:gd name="connsiteX7" fmla="*/ 24281 w 27639"/>
                <a:gd name="connsiteY7" fmla="*/ 24358 h 45424"/>
                <a:gd name="connsiteX8" fmla="*/ 13419 w 27639"/>
                <a:gd name="connsiteY8" fmla="*/ 17974 h 45424"/>
                <a:gd name="connsiteX9" fmla="*/ 15335 w 27639"/>
                <a:gd name="connsiteY9" fmla="*/ 7759 h 45424"/>
                <a:gd name="connsiteX10" fmla="*/ 10224 w 27639"/>
                <a:gd name="connsiteY10" fmla="*/ 98 h 45424"/>
                <a:gd name="connsiteX11" fmla="*/ 2555 w 27639"/>
                <a:gd name="connsiteY11" fmla="*/ 5206 h 45424"/>
                <a:gd name="connsiteX12" fmla="*/ 0 w 27639"/>
                <a:gd name="connsiteY12" fmla="*/ 19889 h 45424"/>
                <a:gd name="connsiteX13" fmla="*/ 3195 w 27639"/>
                <a:gd name="connsiteY13" fmla="*/ 28188 h 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39" h="45424">
                  <a:moveTo>
                    <a:pt x="3195" y="28188"/>
                  </a:moveTo>
                  <a:lnTo>
                    <a:pt x="13419" y="33934"/>
                  </a:lnTo>
                  <a:lnTo>
                    <a:pt x="12140" y="37764"/>
                  </a:lnTo>
                  <a:cubicBezTo>
                    <a:pt x="10863" y="40956"/>
                    <a:pt x="12780" y="44786"/>
                    <a:pt x="16614" y="45425"/>
                  </a:cubicBezTo>
                  <a:cubicBezTo>
                    <a:pt x="17253" y="45425"/>
                    <a:pt x="17891" y="45425"/>
                    <a:pt x="18530" y="45425"/>
                  </a:cubicBezTo>
                  <a:cubicBezTo>
                    <a:pt x="21086" y="45425"/>
                    <a:pt x="23642" y="43510"/>
                    <a:pt x="24920" y="40956"/>
                  </a:cubicBezTo>
                  <a:lnTo>
                    <a:pt x="27476" y="32018"/>
                  </a:lnTo>
                  <a:cubicBezTo>
                    <a:pt x="28115" y="29465"/>
                    <a:pt x="26837" y="26273"/>
                    <a:pt x="24281" y="24358"/>
                  </a:cubicBezTo>
                  <a:lnTo>
                    <a:pt x="13419" y="17974"/>
                  </a:lnTo>
                  <a:lnTo>
                    <a:pt x="15335" y="7759"/>
                  </a:lnTo>
                  <a:cubicBezTo>
                    <a:pt x="15975" y="4567"/>
                    <a:pt x="13419" y="737"/>
                    <a:pt x="10224" y="98"/>
                  </a:cubicBezTo>
                  <a:cubicBezTo>
                    <a:pt x="7029" y="-540"/>
                    <a:pt x="3195" y="2014"/>
                    <a:pt x="2555" y="5206"/>
                  </a:cubicBezTo>
                  <a:lnTo>
                    <a:pt x="0" y="19889"/>
                  </a:lnTo>
                  <a:cubicBezTo>
                    <a:pt x="0" y="24358"/>
                    <a:pt x="1278" y="26911"/>
                    <a:pt x="3195" y="28188"/>
                  </a:cubicBez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grpSp>
      <p:grpSp>
        <p:nvGrpSpPr>
          <p:cNvPr id="786" name="Graphic 4">
            <a:extLst>
              <a:ext uri="{FF2B5EF4-FFF2-40B4-BE49-F238E27FC236}">
                <a16:creationId xmlns:a16="http://schemas.microsoft.com/office/drawing/2014/main" id="{55D8798C-F2D7-C580-E436-229EB842257A}"/>
              </a:ext>
            </a:extLst>
          </p:cNvPr>
          <p:cNvGrpSpPr/>
          <p:nvPr/>
        </p:nvGrpSpPr>
        <p:grpSpPr>
          <a:xfrm>
            <a:off x="8598851" y="3620138"/>
            <a:ext cx="465189" cy="416560"/>
            <a:chOff x="7860783" y="3920566"/>
            <a:chExt cx="242929" cy="200456"/>
          </a:xfrm>
          <a:solidFill>
            <a:schemeClr val="bg1"/>
          </a:solidFill>
        </p:grpSpPr>
        <p:sp>
          <p:nvSpPr>
            <p:cNvPr id="788" name="Graphic 4">
              <a:extLst>
                <a:ext uri="{FF2B5EF4-FFF2-40B4-BE49-F238E27FC236}">
                  <a16:creationId xmlns:a16="http://schemas.microsoft.com/office/drawing/2014/main" id="{87ABBEF8-B44A-B5C3-BBB6-1B3206FBE0DD}"/>
                </a:ext>
              </a:extLst>
            </p:cNvPr>
            <p:cNvSpPr/>
            <p:nvPr/>
          </p:nvSpPr>
          <p:spPr>
            <a:xfrm>
              <a:off x="7867290" y="3920566"/>
              <a:ext cx="68371" cy="68307"/>
            </a:xfrm>
            <a:custGeom>
              <a:avLst/>
              <a:gdLst>
                <a:gd name="connsiteX0" fmla="*/ 34506 w 68372"/>
                <a:gd name="connsiteY0" fmla="*/ 68309 h 68308"/>
                <a:gd name="connsiteX1" fmla="*/ 68373 w 68372"/>
                <a:gd name="connsiteY1" fmla="*/ 34474 h 68308"/>
                <a:gd name="connsiteX2" fmla="*/ 34506 w 68372"/>
                <a:gd name="connsiteY2" fmla="*/ 0 h 68308"/>
                <a:gd name="connsiteX3" fmla="*/ 0 w 68372"/>
                <a:gd name="connsiteY3" fmla="*/ 33835 h 68308"/>
                <a:gd name="connsiteX4" fmla="*/ 0 w 68372"/>
                <a:gd name="connsiteY4" fmla="*/ 33835 h 68308"/>
                <a:gd name="connsiteX5" fmla="*/ 34506 w 68372"/>
                <a:gd name="connsiteY5" fmla="*/ 68309 h 68308"/>
                <a:gd name="connsiteX6" fmla="*/ 34506 w 68372"/>
                <a:gd name="connsiteY6" fmla="*/ 13406 h 68308"/>
                <a:gd name="connsiteX7" fmla="*/ 55593 w 68372"/>
                <a:gd name="connsiteY7" fmla="*/ 34474 h 68308"/>
                <a:gd name="connsiteX8" fmla="*/ 34506 w 68372"/>
                <a:gd name="connsiteY8" fmla="*/ 56179 h 68308"/>
                <a:gd name="connsiteX9" fmla="*/ 12780 w 68372"/>
                <a:gd name="connsiteY9" fmla="*/ 35112 h 68308"/>
                <a:gd name="connsiteX10" fmla="*/ 12780 w 68372"/>
                <a:gd name="connsiteY10" fmla="*/ 35112 h 68308"/>
                <a:gd name="connsiteX11" fmla="*/ 34506 w 68372"/>
                <a:gd name="connsiteY11" fmla="*/ 13406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372" h="68308">
                  <a:moveTo>
                    <a:pt x="34506" y="68309"/>
                  </a:moveTo>
                  <a:cubicBezTo>
                    <a:pt x="53037" y="68309"/>
                    <a:pt x="68373" y="52987"/>
                    <a:pt x="68373" y="34474"/>
                  </a:cubicBezTo>
                  <a:cubicBezTo>
                    <a:pt x="68373" y="15960"/>
                    <a:pt x="53037" y="638"/>
                    <a:pt x="34506" y="0"/>
                  </a:cubicBezTo>
                  <a:cubicBezTo>
                    <a:pt x="15975" y="0"/>
                    <a:pt x="640" y="15322"/>
                    <a:pt x="0" y="33835"/>
                  </a:cubicBezTo>
                  <a:cubicBezTo>
                    <a:pt x="0" y="33835"/>
                    <a:pt x="0" y="33835"/>
                    <a:pt x="0" y="33835"/>
                  </a:cubicBezTo>
                  <a:cubicBezTo>
                    <a:pt x="0" y="53626"/>
                    <a:pt x="15336" y="68309"/>
                    <a:pt x="34506" y="68309"/>
                  </a:cubicBezTo>
                  <a:close/>
                  <a:moveTo>
                    <a:pt x="34506" y="13406"/>
                  </a:moveTo>
                  <a:cubicBezTo>
                    <a:pt x="46008" y="13406"/>
                    <a:pt x="55593" y="22982"/>
                    <a:pt x="55593" y="34474"/>
                  </a:cubicBezTo>
                  <a:cubicBezTo>
                    <a:pt x="55593" y="45965"/>
                    <a:pt x="46008" y="55541"/>
                    <a:pt x="34506" y="56179"/>
                  </a:cubicBezTo>
                  <a:cubicBezTo>
                    <a:pt x="23004" y="56179"/>
                    <a:pt x="13419" y="46603"/>
                    <a:pt x="12780" y="35112"/>
                  </a:cubicBezTo>
                  <a:cubicBezTo>
                    <a:pt x="12780" y="35112"/>
                    <a:pt x="12780" y="35112"/>
                    <a:pt x="12780" y="35112"/>
                  </a:cubicBezTo>
                  <a:cubicBezTo>
                    <a:pt x="12780" y="22982"/>
                    <a:pt x="22365" y="13406"/>
                    <a:pt x="34506" y="13406"/>
                  </a:cubicBez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89" name="Graphic 4">
              <a:extLst>
                <a:ext uri="{FF2B5EF4-FFF2-40B4-BE49-F238E27FC236}">
                  <a16:creationId xmlns:a16="http://schemas.microsoft.com/office/drawing/2014/main" id="{8547FC15-CBE1-9FC1-88D7-2B8BB225145D}"/>
                </a:ext>
              </a:extLst>
            </p:cNvPr>
            <p:cNvSpPr/>
            <p:nvPr/>
          </p:nvSpPr>
          <p:spPr>
            <a:xfrm>
              <a:off x="7860783" y="3991429"/>
              <a:ext cx="143595" cy="129593"/>
            </a:xfrm>
            <a:custGeom>
              <a:avLst/>
              <a:gdLst>
                <a:gd name="connsiteX0" fmla="*/ 128561 w 143596"/>
                <a:gd name="connsiteY0" fmla="*/ 75331 h 129594"/>
                <a:gd name="connsiteX1" fmla="*/ 100445 w 143596"/>
                <a:gd name="connsiteY1" fmla="*/ 71500 h 129594"/>
                <a:gd name="connsiteX2" fmla="*/ 99166 w 143596"/>
                <a:gd name="connsiteY2" fmla="*/ 43411 h 129594"/>
                <a:gd name="connsiteX3" fmla="*/ 56993 w 143596"/>
                <a:gd name="connsiteY3" fmla="*/ 1915 h 129594"/>
                <a:gd name="connsiteX4" fmla="*/ 12263 w 143596"/>
                <a:gd name="connsiteY4" fmla="*/ 1915 h 129594"/>
                <a:gd name="connsiteX5" fmla="*/ 4596 w 143596"/>
                <a:gd name="connsiteY5" fmla="*/ 4469 h 129594"/>
                <a:gd name="connsiteX6" fmla="*/ 122 w 143596"/>
                <a:gd name="connsiteY6" fmla="*/ 12768 h 129594"/>
                <a:gd name="connsiteX7" fmla="*/ 8430 w 143596"/>
                <a:gd name="connsiteY7" fmla="*/ 17237 h 129594"/>
                <a:gd name="connsiteX8" fmla="*/ 9068 w 143596"/>
                <a:gd name="connsiteY8" fmla="*/ 17237 h 129594"/>
                <a:gd name="connsiteX9" fmla="*/ 14820 w 143596"/>
                <a:gd name="connsiteY9" fmla="*/ 15322 h 129594"/>
                <a:gd name="connsiteX10" fmla="*/ 55076 w 143596"/>
                <a:gd name="connsiteY10" fmla="*/ 15322 h 129594"/>
                <a:gd name="connsiteX11" fmla="*/ 86387 w 143596"/>
                <a:gd name="connsiteY11" fmla="*/ 44049 h 129594"/>
                <a:gd name="connsiteX12" fmla="*/ 87665 w 143596"/>
                <a:gd name="connsiteY12" fmla="*/ 77246 h 129594"/>
                <a:gd name="connsiteX13" fmla="*/ 93416 w 143596"/>
                <a:gd name="connsiteY13" fmla="*/ 83630 h 129594"/>
                <a:gd name="connsiteX14" fmla="*/ 126643 w 143596"/>
                <a:gd name="connsiteY14" fmla="*/ 88099 h 129594"/>
                <a:gd name="connsiteX15" fmla="*/ 131116 w 143596"/>
                <a:gd name="connsiteY15" fmla="*/ 94483 h 129594"/>
                <a:gd name="connsiteX16" fmla="*/ 131116 w 143596"/>
                <a:gd name="connsiteY16" fmla="*/ 94483 h 129594"/>
                <a:gd name="connsiteX17" fmla="*/ 126005 w 143596"/>
                <a:gd name="connsiteY17" fmla="*/ 97675 h 129594"/>
                <a:gd name="connsiteX18" fmla="*/ 80636 w 143596"/>
                <a:gd name="connsiteY18" fmla="*/ 91291 h 129594"/>
                <a:gd name="connsiteX19" fmla="*/ 71690 w 143596"/>
                <a:gd name="connsiteY19" fmla="*/ 81076 h 129594"/>
                <a:gd name="connsiteX20" fmla="*/ 70412 w 143596"/>
                <a:gd name="connsiteY20" fmla="*/ 42134 h 129594"/>
                <a:gd name="connsiteX21" fmla="*/ 64022 w 143596"/>
                <a:gd name="connsiteY21" fmla="*/ 35750 h 129594"/>
                <a:gd name="connsiteX22" fmla="*/ 57632 w 143596"/>
                <a:gd name="connsiteY22" fmla="*/ 42134 h 129594"/>
                <a:gd name="connsiteX23" fmla="*/ 58910 w 143596"/>
                <a:gd name="connsiteY23" fmla="*/ 81076 h 129594"/>
                <a:gd name="connsiteX24" fmla="*/ 62744 w 143596"/>
                <a:gd name="connsiteY24" fmla="*/ 93206 h 129594"/>
                <a:gd name="connsiteX25" fmla="*/ 62744 w 143596"/>
                <a:gd name="connsiteY25" fmla="*/ 123211 h 129594"/>
                <a:gd name="connsiteX26" fmla="*/ 69134 w 143596"/>
                <a:gd name="connsiteY26" fmla="*/ 129595 h 129594"/>
                <a:gd name="connsiteX27" fmla="*/ 75524 w 143596"/>
                <a:gd name="connsiteY27" fmla="*/ 123211 h 129594"/>
                <a:gd name="connsiteX28" fmla="*/ 75524 w 143596"/>
                <a:gd name="connsiteY28" fmla="*/ 102782 h 129594"/>
                <a:gd name="connsiteX29" fmla="*/ 78719 w 143596"/>
                <a:gd name="connsiteY29" fmla="*/ 103420 h 129594"/>
                <a:gd name="connsiteX30" fmla="*/ 124087 w 143596"/>
                <a:gd name="connsiteY30" fmla="*/ 109804 h 129594"/>
                <a:gd name="connsiteX31" fmla="*/ 126005 w 143596"/>
                <a:gd name="connsiteY31" fmla="*/ 109804 h 129594"/>
                <a:gd name="connsiteX32" fmla="*/ 143257 w 143596"/>
                <a:gd name="connsiteY32" fmla="*/ 96398 h 129594"/>
                <a:gd name="connsiteX33" fmla="*/ 143257 w 143596"/>
                <a:gd name="connsiteY33" fmla="*/ 95760 h 129594"/>
                <a:gd name="connsiteX34" fmla="*/ 128561 w 143596"/>
                <a:gd name="connsiteY34" fmla="*/ 75331 h 129594"/>
                <a:gd name="connsiteX35" fmla="*/ 128561 w 143596"/>
                <a:gd name="connsiteY35" fmla="*/ 75331 h 12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43596" h="129594">
                  <a:moveTo>
                    <a:pt x="128561" y="75331"/>
                  </a:moveTo>
                  <a:lnTo>
                    <a:pt x="100445" y="71500"/>
                  </a:lnTo>
                  <a:lnTo>
                    <a:pt x="99166" y="43411"/>
                  </a:lnTo>
                  <a:cubicBezTo>
                    <a:pt x="97889" y="19152"/>
                    <a:pt x="77441" y="5107"/>
                    <a:pt x="56993" y="1915"/>
                  </a:cubicBezTo>
                  <a:cubicBezTo>
                    <a:pt x="42297" y="-638"/>
                    <a:pt x="26961" y="-638"/>
                    <a:pt x="12263" y="1915"/>
                  </a:cubicBezTo>
                  <a:cubicBezTo>
                    <a:pt x="9707" y="2554"/>
                    <a:pt x="7152" y="3192"/>
                    <a:pt x="4596" y="4469"/>
                  </a:cubicBezTo>
                  <a:cubicBezTo>
                    <a:pt x="1401" y="5746"/>
                    <a:pt x="-516" y="8938"/>
                    <a:pt x="122" y="12768"/>
                  </a:cubicBezTo>
                  <a:cubicBezTo>
                    <a:pt x="1401" y="15960"/>
                    <a:pt x="4596" y="17875"/>
                    <a:pt x="8430" y="17237"/>
                  </a:cubicBezTo>
                  <a:cubicBezTo>
                    <a:pt x="8430" y="17237"/>
                    <a:pt x="9068" y="17237"/>
                    <a:pt x="9068" y="17237"/>
                  </a:cubicBezTo>
                  <a:cubicBezTo>
                    <a:pt x="10986" y="16598"/>
                    <a:pt x="12902" y="15960"/>
                    <a:pt x="14820" y="15322"/>
                  </a:cubicBezTo>
                  <a:cubicBezTo>
                    <a:pt x="28238" y="12768"/>
                    <a:pt x="41657" y="12768"/>
                    <a:pt x="55076" y="15322"/>
                  </a:cubicBezTo>
                  <a:cubicBezTo>
                    <a:pt x="69773" y="17237"/>
                    <a:pt x="85748" y="27451"/>
                    <a:pt x="86387" y="44049"/>
                  </a:cubicBezTo>
                  <a:lnTo>
                    <a:pt x="87665" y="77246"/>
                  </a:lnTo>
                  <a:cubicBezTo>
                    <a:pt x="87665" y="80438"/>
                    <a:pt x="90221" y="82992"/>
                    <a:pt x="93416" y="83630"/>
                  </a:cubicBezTo>
                  <a:lnTo>
                    <a:pt x="126643" y="88099"/>
                  </a:lnTo>
                  <a:cubicBezTo>
                    <a:pt x="129838" y="88737"/>
                    <a:pt x="131756" y="91291"/>
                    <a:pt x="131116" y="94483"/>
                  </a:cubicBezTo>
                  <a:cubicBezTo>
                    <a:pt x="131116" y="94483"/>
                    <a:pt x="131116" y="94483"/>
                    <a:pt x="131116" y="94483"/>
                  </a:cubicBezTo>
                  <a:cubicBezTo>
                    <a:pt x="130477" y="97036"/>
                    <a:pt x="128561" y="98313"/>
                    <a:pt x="126005" y="97675"/>
                  </a:cubicBezTo>
                  <a:lnTo>
                    <a:pt x="80636" y="91291"/>
                  </a:lnTo>
                  <a:cubicBezTo>
                    <a:pt x="75524" y="90652"/>
                    <a:pt x="71690" y="86184"/>
                    <a:pt x="71690" y="81076"/>
                  </a:cubicBezTo>
                  <a:lnTo>
                    <a:pt x="70412" y="42134"/>
                  </a:lnTo>
                  <a:cubicBezTo>
                    <a:pt x="70412" y="38304"/>
                    <a:pt x="67217" y="35750"/>
                    <a:pt x="64022" y="35750"/>
                  </a:cubicBezTo>
                  <a:cubicBezTo>
                    <a:pt x="60188" y="35750"/>
                    <a:pt x="57632" y="38942"/>
                    <a:pt x="57632" y="42134"/>
                  </a:cubicBezTo>
                  <a:lnTo>
                    <a:pt x="58910" y="81076"/>
                  </a:lnTo>
                  <a:cubicBezTo>
                    <a:pt x="58910" y="85545"/>
                    <a:pt x="60827" y="90014"/>
                    <a:pt x="62744" y="93206"/>
                  </a:cubicBezTo>
                  <a:lnTo>
                    <a:pt x="62744" y="123211"/>
                  </a:lnTo>
                  <a:cubicBezTo>
                    <a:pt x="62744" y="127041"/>
                    <a:pt x="65300" y="129595"/>
                    <a:pt x="69134" y="129595"/>
                  </a:cubicBezTo>
                  <a:cubicBezTo>
                    <a:pt x="72968" y="129595"/>
                    <a:pt x="75524" y="127041"/>
                    <a:pt x="75524" y="123211"/>
                  </a:cubicBezTo>
                  <a:lnTo>
                    <a:pt x="75524" y="102782"/>
                  </a:lnTo>
                  <a:cubicBezTo>
                    <a:pt x="76802" y="102782"/>
                    <a:pt x="77441" y="103420"/>
                    <a:pt x="78719" y="103420"/>
                  </a:cubicBezTo>
                  <a:lnTo>
                    <a:pt x="124087" y="109804"/>
                  </a:lnTo>
                  <a:cubicBezTo>
                    <a:pt x="124726" y="109804"/>
                    <a:pt x="125366" y="109804"/>
                    <a:pt x="126005" y="109804"/>
                  </a:cubicBezTo>
                  <a:cubicBezTo>
                    <a:pt x="134311" y="109804"/>
                    <a:pt x="141341" y="104059"/>
                    <a:pt x="143257" y="96398"/>
                  </a:cubicBezTo>
                  <a:lnTo>
                    <a:pt x="143257" y="95760"/>
                  </a:lnTo>
                  <a:cubicBezTo>
                    <a:pt x="145174" y="86822"/>
                    <a:pt x="138784" y="77246"/>
                    <a:pt x="128561" y="75331"/>
                  </a:cubicBezTo>
                  <a:cubicBezTo>
                    <a:pt x="128561" y="75331"/>
                    <a:pt x="128561" y="75331"/>
                    <a:pt x="128561" y="75331"/>
                  </a:cubicBez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90" name="Graphic 4">
              <a:extLst>
                <a:ext uri="{FF2B5EF4-FFF2-40B4-BE49-F238E27FC236}">
                  <a16:creationId xmlns:a16="http://schemas.microsoft.com/office/drawing/2014/main" id="{02D89605-70DB-13BD-FE08-E245C96058AD}"/>
                </a:ext>
              </a:extLst>
            </p:cNvPr>
            <p:cNvSpPr/>
            <p:nvPr/>
          </p:nvSpPr>
          <p:spPr>
            <a:xfrm>
              <a:off x="7942049" y="3925035"/>
              <a:ext cx="161663" cy="148109"/>
            </a:xfrm>
            <a:custGeom>
              <a:avLst/>
              <a:gdLst>
                <a:gd name="connsiteX0" fmla="*/ 140579 w 161664"/>
                <a:gd name="connsiteY0" fmla="*/ 125126 h 148108"/>
                <a:gd name="connsiteX1" fmla="*/ 161665 w 161664"/>
                <a:gd name="connsiteY1" fmla="*/ 104059 h 148108"/>
                <a:gd name="connsiteX2" fmla="*/ 161665 w 161664"/>
                <a:gd name="connsiteY2" fmla="*/ 21067 h 148108"/>
                <a:gd name="connsiteX3" fmla="*/ 140579 w 161664"/>
                <a:gd name="connsiteY3" fmla="*/ 0 h 148108"/>
                <a:gd name="connsiteX4" fmla="*/ 21086 w 161664"/>
                <a:gd name="connsiteY4" fmla="*/ 0 h 148108"/>
                <a:gd name="connsiteX5" fmla="*/ 0 w 161664"/>
                <a:gd name="connsiteY5" fmla="*/ 21067 h 148108"/>
                <a:gd name="connsiteX6" fmla="*/ 0 w 161664"/>
                <a:gd name="connsiteY6" fmla="*/ 58733 h 148108"/>
                <a:gd name="connsiteX7" fmla="*/ 6390 w 161664"/>
                <a:gd name="connsiteY7" fmla="*/ 65117 h 148108"/>
                <a:gd name="connsiteX8" fmla="*/ 12780 w 161664"/>
                <a:gd name="connsiteY8" fmla="*/ 58733 h 148108"/>
                <a:gd name="connsiteX9" fmla="*/ 12780 w 161664"/>
                <a:gd name="connsiteY9" fmla="*/ 21067 h 148108"/>
                <a:gd name="connsiteX10" fmla="*/ 21086 w 161664"/>
                <a:gd name="connsiteY10" fmla="*/ 12768 h 148108"/>
                <a:gd name="connsiteX11" fmla="*/ 140579 w 161664"/>
                <a:gd name="connsiteY11" fmla="*/ 12768 h 148108"/>
                <a:gd name="connsiteX12" fmla="*/ 148885 w 161664"/>
                <a:gd name="connsiteY12" fmla="*/ 21067 h 148108"/>
                <a:gd name="connsiteX13" fmla="*/ 148885 w 161664"/>
                <a:gd name="connsiteY13" fmla="*/ 92568 h 148108"/>
                <a:gd name="connsiteX14" fmla="*/ 113740 w 161664"/>
                <a:gd name="connsiteY14" fmla="*/ 92568 h 148108"/>
                <a:gd name="connsiteX15" fmla="*/ 80513 w 161664"/>
                <a:gd name="connsiteY15" fmla="*/ 70224 h 148108"/>
                <a:gd name="connsiteX16" fmla="*/ 47286 w 161664"/>
                <a:gd name="connsiteY16" fmla="*/ 92568 h 148108"/>
                <a:gd name="connsiteX17" fmla="*/ 34506 w 161664"/>
                <a:gd name="connsiteY17" fmla="*/ 92568 h 148108"/>
                <a:gd name="connsiteX18" fmla="*/ 28116 w 161664"/>
                <a:gd name="connsiteY18" fmla="*/ 98952 h 148108"/>
                <a:gd name="connsiteX19" fmla="*/ 34506 w 161664"/>
                <a:gd name="connsiteY19" fmla="*/ 105336 h 148108"/>
                <a:gd name="connsiteX20" fmla="*/ 148885 w 161664"/>
                <a:gd name="connsiteY20" fmla="*/ 105336 h 148108"/>
                <a:gd name="connsiteX21" fmla="*/ 140579 w 161664"/>
                <a:gd name="connsiteY21" fmla="*/ 112997 h 148108"/>
                <a:gd name="connsiteX22" fmla="*/ 34506 w 161664"/>
                <a:gd name="connsiteY22" fmla="*/ 112997 h 148108"/>
                <a:gd name="connsiteX23" fmla="*/ 28116 w 161664"/>
                <a:gd name="connsiteY23" fmla="*/ 119381 h 148108"/>
                <a:gd name="connsiteX24" fmla="*/ 34506 w 161664"/>
                <a:gd name="connsiteY24" fmla="*/ 125765 h 148108"/>
                <a:gd name="connsiteX25" fmla="*/ 61982 w 161664"/>
                <a:gd name="connsiteY25" fmla="*/ 125765 h 148108"/>
                <a:gd name="connsiteX26" fmla="*/ 61982 w 161664"/>
                <a:gd name="connsiteY26" fmla="*/ 141724 h 148108"/>
                <a:gd name="connsiteX27" fmla="*/ 68372 w 161664"/>
                <a:gd name="connsiteY27" fmla="*/ 148108 h 148108"/>
                <a:gd name="connsiteX28" fmla="*/ 155275 w 161664"/>
                <a:gd name="connsiteY28" fmla="*/ 148108 h 148108"/>
                <a:gd name="connsiteX29" fmla="*/ 161665 w 161664"/>
                <a:gd name="connsiteY29" fmla="*/ 141724 h 148108"/>
                <a:gd name="connsiteX30" fmla="*/ 155275 w 161664"/>
                <a:gd name="connsiteY30" fmla="*/ 135341 h 148108"/>
                <a:gd name="connsiteX31" fmla="*/ 99044 w 161664"/>
                <a:gd name="connsiteY31" fmla="*/ 135341 h 148108"/>
                <a:gd name="connsiteX32" fmla="*/ 99044 w 161664"/>
                <a:gd name="connsiteY32" fmla="*/ 125765 h 148108"/>
                <a:gd name="connsiteX33" fmla="*/ 140579 w 161664"/>
                <a:gd name="connsiteY33" fmla="*/ 125126 h 148108"/>
                <a:gd name="connsiteX34" fmla="*/ 81152 w 161664"/>
                <a:gd name="connsiteY34" fmla="*/ 82353 h 148108"/>
                <a:gd name="connsiteX35" fmla="*/ 100961 w 161664"/>
                <a:gd name="connsiteY35" fmla="*/ 91929 h 148108"/>
                <a:gd name="connsiteX36" fmla="*/ 61343 w 161664"/>
                <a:gd name="connsiteY36" fmla="*/ 91929 h 148108"/>
                <a:gd name="connsiteX37" fmla="*/ 81152 w 161664"/>
                <a:gd name="connsiteY37" fmla="*/ 82353 h 148108"/>
                <a:gd name="connsiteX38" fmla="*/ 81152 w 161664"/>
                <a:gd name="connsiteY38" fmla="*/ 82353 h 148108"/>
                <a:gd name="connsiteX39" fmla="*/ 86903 w 161664"/>
                <a:gd name="connsiteY39" fmla="*/ 134702 h 148108"/>
                <a:gd name="connsiteX40" fmla="*/ 75401 w 161664"/>
                <a:gd name="connsiteY40" fmla="*/ 134702 h 148108"/>
                <a:gd name="connsiteX41" fmla="*/ 75401 w 161664"/>
                <a:gd name="connsiteY41" fmla="*/ 125126 h 148108"/>
                <a:gd name="connsiteX42" fmla="*/ 86903 w 161664"/>
                <a:gd name="connsiteY42" fmla="*/ 125126 h 148108"/>
                <a:gd name="connsiteX43" fmla="*/ 86903 w 161664"/>
                <a:gd name="connsiteY43" fmla="*/ 134702 h 148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61664" h="148108">
                  <a:moveTo>
                    <a:pt x="140579" y="125126"/>
                  </a:moveTo>
                  <a:cubicBezTo>
                    <a:pt x="152080" y="125126"/>
                    <a:pt x="161665" y="115550"/>
                    <a:pt x="161665" y="104059"/>
                  </a:cubicBezTo>
                  <a:lnTo>
                    <a:pt x="161665" y="21067"/>
                  </a:lnTo>
                  <a:cubicBezTo>
                    <a:pt x="161665" y="9576"/>
                    <a:pt x="152080" y="0"/>
                    <a:pt x="140579" y="0"/>
                  </a:cubicBezTo>
                  <a:lnTo>
                    <a:pt x="21086" y="0"/>
                  </a:lnTo>
                  <a:cubicBezTo>
                    <a:pt x="9585" y="0"/>
                    <a:pt x="0" y="9576"/>
                    <a:pt x="0" y="21067"/>
                  </a:cubicBezTo>
                  <a:lnTo>
                    <a:pt x="0" y="58733"/>
                  </a:lnTo>
                  <a:cubicBezTo>
                    <a:pt x="0" y="62563"/>
                    <a:pt x="2556" y="65117"/>
                    <a:pt x="6390" y="65117"/>
                  </a:cubicBezTo>
                  <a:cubicBezTo>
                    <a:pt x="10224" y="65117"/>
                    <a:pt x="12780" y="62563"/>
                    <a:pt x="12780" y="58733"/>
                  </a:cubicBezTo>
                  <a:lnTo>
                    <a:pt x="12780" y="21067"/>
                  </a:lnTo>
                  <a:cubicBezTo>
                    <a:pt x="12780" y="16598"/>
                    <a:pt x="16614" y="12768"/>
                    <a:pt x="21086" y="12768"/>
                  </a:cubicBezTo>
                  <a:lnTo>
                    <a:pt x="140579" y="12768"/>
                  </a:lnTo>
                  <a:cubicBezTo>
                    <a:pt x="145051" y="12768"/>
                    <a:pt x="148885" y="16598"/>
                    <a:pt x="148885" y="21067"/>
                  </a:cubicBezTo>
                  <a:lnTo>
                    <a:pt x="148885" y="92568"/>
                  </a:lnTo>
                  <a:lnTo>
                    <a:pt x="113740" y="92568"/>
                  </a:lnTo>
                  <a:cubicBezTo>
                    <a:pt x="111185" y="81077"/>
                    <a:pt x="101600" y="70224"/>
                    <a:pt x="80513" y="70224"/>
                  </a:cubicBezTo>
                  <a:cubicBezTo>
                    <a:pt x="59426" y="70224"/>
                    <a:pt x="49841" y="81077"/>
                    <a:pt x="47286" y="92568"/>
                  </a:cubicBezTo>
                  <a:lnTo>
                    <a:pt x="34506" y="92568"/>
                  </a:lnTo>
                  <a:cubicBezTo>
                    <a:pt x="30671" y="92568"/>
                    <a:pt x="28116" y="95121"/>
                    <a:pt x="28116" y="98952"/>
                  </a:cubicBezTo>
                  <a:cubicBezTo>
                    <a:pt x="28116" y="102782"/>
                    <a:pt x="30671" y="105336"/>
                    <a:pt x="34506" y="105336"/>
                  </a:cubicBezTo>
                  <a:lnTo>
                    <a:pt x="148885" y="105336"/>
                  </a:lnTo>
                  <a:cubicBezTo>
                    <a:pt x="148246" y="109805"/>
                    <a:pt x="145051" y="112997"/>
                    <a:pt x="140579" y="112997"/>
                  </a:cubicBezTo>
                  <a:lnTo>
                    <a:pt x="34506" y="112997"/>
                  </a:lnTo>
                  <a:cubicBezTo>
                    <a:pt x="30671" y="112997"/>
                    <a:pt x="28116" y="115550"/>
                    <a:pt x="28116" y="119381"/>
                  </a:cubicBezTo>
                  <a:cubicBezTo>
                    <a:pt x="28116" y="123211"/>
                    <a:pt x="30671" y="125765"/>
                    <a:pt x="34506" y="125765"/>
                  </a:cubicBezTo>
                  <a:lnTo>
                    <a:pt x="61982" y="125765"/>
                  </a:lnTo>
                  <a:lnTo>
                    <a:pt x="61982" y="141724"/>
                  </a:lnTo>
                  <a:cubicBezTo>
                    <a:pt x="61982" y="145555"/>
                    <a:pt x="64538" y="148108"/>
                    <a:pt x="68372" y="148108"/>
                  </a:cubicBezTo>
                  <a:lnTo>
                    <a:pt x="155275" y="148108"/>
                  </a:lnTo>
                  <a:cubicBezTo>
                    <a:pt x="159110" y="148108"/>
                    <a:pt x="161665" y="145555"/>
                    <a:pt x="161665" y="141724"/>
                  </a:cubicBezTo>
                  <a:cubicBezTo>
                    <a:pt x="161665" y="137894"/>
                    <a:pt x="159110" y="135341"/>
                    <a:pt x="155275" y="135341"/>
                  </a:cubicBezTo>
                  <a:lnTo>
                    <a:pt x="99044" y="135341"/>
                  </a:lnTo>
                  <a:lnTo>
                    <a:pt x="99044" y="125765"/>
                  </a:lnTo>
                  <a:lnTo>
                    <a:pt x="140579" y="125126"/>
                  </a:lnTo>
                  <a:close/>
                  <a:moveTo>
                    <a:pt x="81152" y="82353"/>
                  </a:moveTo>
                  <a:cubicBezTo>
                    <a:pt x="93932" y="82353"/>
                    <a:pt x="99044" y="87461"/>
                    <a:pt x="100961" y="91929"/>
                  </a:cubicBezTo>
                  <a:lnTo>
                    <a:pt x="61343" y="91929"/>
                  </a:lnTo>
                  <a:cubicBezTo>
                    <a:pt x="63261" y="87461"/>
                    <a:pt x="68372" y="82353"/>
                    <a:pt x="81152" y="82353"/>
                  </a:cubicBezTo>
                  <a:lnTo>
                    <a:pt x="81152" y="82353"/>
                  </a:lnTo>
                  <a:close/>
                  <a:moveTo>
                    <a:pt x="86903" y="134702"/>
                  </a:moveTo>
                  <a:lnTo>
                    <a:pt x="75401" y="134702"/>
                  </a:lnTo>
                  <a:lnTo>
                    <a:pt x="75401" y="125126"/>
                  </a:lnTo>
                  <a:lnTo>
                    <a:pt x="86903" y="125126"/>
                  </a:lnTo>
                  <a:lnTo>
                    <a:pt x="86903" y="134702"/>
                  </a:ln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91" name="Graphic 4">
              <a:extLst>
                <a:ext uri="{FF2B5EF4-FFF2-40B4-BE49-F238E27FC236}">
                  <a16:creationId xmlns:a16="http://schemas.microsoft.com/office/drawing/2014/main" id="{C9D73F2E-B62E-78E4-FE06-9BA33A8A6DBB}"/>
                </a:ext>
              </a:extLst>
            </p:cNvPr>
            <p:cNvSpPr/>
            <p:nvPr/>
          </p:nvSpPr>
          <p:spPr>
            <a:xfrm>
              <a:off x="7998283" y="3944186"/>
              <a:ext cx="48564" cy="48518"/>
            </a:xfrm>
            <a:custGeom>
              <a:avLst/>
              <a:gdLst>
                <a:gd name="connsiteX0" fmla="*/ 48564 w 48564"/>
                <a:gd name="connsiteY0" fmla="*/ 24259 h 48518"/>
                <a:gd name="connsiteX1" fmla="*/ 24282 w 48564"/>
                <a:gd name="connsiteY1" fmla="*/ 0 h 48518"/>
                <a:gd name="connsiteX2" fmla="*/ 0 w 48564"/>
                <a:gd name="connsiteY2" fmla="*/ 24259 h 48518"/>
                <a:gd name="connsiteX3" fmla="*/ 24282 w 48564"/>
                <a:gd name="connsiteY3" fmla="*/ 48518 h 48518"/>
                <a:gd name="connsiteX4" fmla="*/ 48564 w 48564"/>
                <a:gd name="connsiteY4" fmla="*/ 24259 h 48518"/>
                <a:gd name="connsiteX5" fmla="*/ 48564 w 48564"/>
                <a:gd name="connsiteY5" fmla="*/ 24259 h 48518"/>
                <a:gd name="connsiteX6" fmla="*/ 13419 w 48564"/>
                <a:gd name="connsiteY6" fmla="*/ 24259 h 48518"/>
                <a:gd name="connsiteX7" fmla="*/ 24921 w 48564"/>
                <a:gd name="connsiteY7" fmla="*/ 12768 h 48518"/>
                <a:gd name="connsiteX8" fmla="*/ 36423 w 48564"/>
                <a:gd name="connsiteY8" fmla="*/ 24259 h 48518"/>
                <a:gd name="connsiteX9" fmla="*/ 24921 w 48564"/>
                <a:gd name="connsiteY9" fmla="*/ 35750 h 48518"/>
                <a:gd name="connsiteX10" fmla="*/ 24921 w 48564"/>
                <a:gd name="connsiteY10" fmla="*/ 35750 h 48518"/>
                <a:gd name="connsiteX11" fmla="*/ 13419 w 48564"/>
                <a:gd name="connsiteY11" fmla="*/ 24259 h 48518"/>
                <a:gd name="connsiteX12" fmla="*/ 13419 w 48564"/>
                <a:gd name="connsiteY12" fmla="*/ 24259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64" h="48518">
                  <a:moveTo>
                    <a:pt x="48564" y="24259"/>
                  </a:moveTo>
                  <a:cubicBezTo>
                    <a:pt x="48564" y="10853"/>
                    <a:pt x="37701" y="0"/>
                    <a:pt x="24282" y="0"/>
                  </a:cubicBezTo>
                  <a:cubicBezTo>
                    <a:pt x="10863" y="0"/>
                    <a:pt x="0" y="10853"/>
                    <a:pt x="0" y="24259"/>
                  </a:cubicBezTo>
                  <a:cubicBezTo>
                    <a:pt x="0" y="37665"/>
                    <a:pt x="10863" y="48518"/>
                    <a:pt x="24282" y="48518"/>
                  </a:cubicBezTo>
                  <a:cubicBezTo>
                    <a:pt x="37701" y="48518"/>
                    <a:pt x="48564" y="37665"/>
                    <a:pt x="48564" y="24259"/>
                  </a:cubicBezTo>
                  <a:cubicBezTo>
                    <a:pt x="48564" y="24259"/>
                    <a:pt x="48564" y="24259"/>
                    <a:pt x="48564" y="24259"/>
                  </a:cubicBezTo>
                  <a:close/>
                  <a:moveTo>
                    <a:pt x="13419" y="24259"/>
                  </a:moveTo>
                  <a:cubicBezTo>
                    <a:pt x="13419" y="17875"/>
                    <a:pt x="18531" y="12768"/>
                    <a:pt x="24921" y="12768"/>
                  </a:cubicBezTo>
                  <a:cubicBezTo>
                    <a:pt x="31311" y="12768"/>
                    <a:pt x="36423" y="17875"/>
                    <a:pt x="36423" y="24259"/>
                  </a:cubicBezTo>
                  <a:cubicBezTo>
                    <a:pt x="36423" y="30643"/>
                    <a:pt x="31311" y="35750"/>
                    <a:pt x="24921" y="35750"/>
                  </a:cubicBezTo>
                  <a:cubicBezTo>
                    <a:pt x="24921" y="35750"/>
                    <a:pt x="24921" y="35750"/>
                    <a:pt x="24921" y="35750"/>
                  </a:cubicBezTo>
                  <a:cubicBezTo>
                    <a:pt x="18531" y="35750"/>
                    <a:pt x="13419" y="30643"/>
                    <a:pt x="13419" y="24259"/>
                  </a:cubicBezTo>
                  <a:cubicBezTo>
                    <a:pt x="13419" y="24259"/>
                    <a:pt x="13419" y="24259"/>
                    <a:pt x="13419" y="24259"/>
                  </a:cubicBezTo>
                  <a:close/>
                </a:path>
              </a:pathLst>
            </a:custGeom>
            <a:grp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grpSp>
      <p:sp>
        <p:nvSpPr>
          <p:cNvPr id="794" name="Graphic 4">
            <a:extLst>
              <a:ext uri="{FF2B5EF4-FFF2-40B4-BE49-F238E27FC236}">
                <a16:creationId xmlns:a16="http://schemas.microsoft.com/office/drawing/2014/main" id="{98F4BEF3-DBE3-DCF2-F7DE-91D1414C85A6}"/>
              </a:ext>
            </a:extLst>
          </p:cNvPr>
          <p:cNvSpPr/>
          <p:nvPr/>
        </p:nvSpPr>
        <p:spPr>
          <a:xfrm>
            <a:off x="10607521" y="3631333"/>
            <a:ext cx="286990" cy="362394"/>
          </a:xfrm>
          <a:custGeom>
            <a:avLst/>
            <a:gdLst>
              <a:gd name="connsiteX0" fmla="*/ 157831 w 162304"/>
              <a:gd name="connsiteY0" fmla="*/ 14498 h 204740"/>
              <a:gd name="connsiteX1" fmla="*/ 151441 w 162304"/>
              <a:gd name="connsiteY1" fmla="*/ 14498 h 204740"/>
              <a:gd name="connsiteX2" fmla="*/ 84986 w 162304"/>
              <a:gd name="connsiteY2" fmla="*/ 15136 h 204740"/>
              <a:gd name="connsiteX3" fmla="*/ 2556 w 162304"/>
              <a:gd name="connsiteY3" fmla="*/ 14498 h 204740"/>
              <a:gd name="connsiteX4" fmla="*/ 0 w 162304"/>
              <a:gd name="connsiteY4" fmla="*/ 19605 h 204740"/>
              <a:gd name="connsiteX5" fmla="*/ 0 w 162304"/>
              <a:gd name="connsiteY5" fmla="*/ 198356 h 204740"/>
              <a:gd name="connsiteX6" fmla="*/ 6390 w 162304"/>
              <a:gd name="connsiteY6" fmla="*/ 204740 h 204740"/>
              <a:gd name="connsiteX7" fmla="*/ 12780 w 162304"/>
              <a:gd name="connsiteY7" fmla="*/ 198356 h 204740"/>
              <a:gd name="connsiteX8" fmla="*/ 12780 w 162304"/>
              <a:gd name="connsiteY8" fmla="*/ 119834 h 204740"/>
              <a:gd name="connsiteX9" fmla="*/ 76679 w 162304"/>
              <a:gd name="connsiteY9" fmla="*/ 121110 h 204740"/>
              <a:gd name="connsiteX10" fmla="*/ 159109 w 162304"/>
              <a:gd name="connsiteY10" fmla="*/ 121749 h 204740"/>
              <a:gd name="connsiteX11" fmla="*/ 162304 w 162304"/>
              <a:gd name="connsiteY11" fmla="*/ 116642 h 204740"/>
              <a:gd name="connsiteX12" fmla="*/ 162304 w 162304"/>
              <a:gd name="connsiteY12" fmla="*/ 20243 h 204740"/>
              <a:gd name="connsiteX13" fmla="*/ 157831 w 162304"/>
              <a:gd name="connsiteY13" fmla="*/ 14498 h 204740"/>
              <a:gd name="connsiteX14" fmla="*/ 148246 w 162304"/>
              <a:gd name="connsiteY14" fmla="*/ 112811 h 204740"/>
              <a:gd name="connsiteX15" fmla="*/ 84347 w 162304"/>
              <a:gd name="connsiteY15" fmla="*/ 112173 h 204740"/>
              <a:gd name="connsiteX16" fmla="*/ 46646 w 162304"/>
              <a:gd name="connsiteY16" fmla="*/ 96851 h 204740"/>
              <a:gd name="connsiteX17" fmla="*/ 12141 w 162304"/>
              <a:gd name="connsiteY17" fmla="*/ 105789 h 204740"/>
              <a:gd name="connsiteX18" fmla="*/ 12141 w 162304"/>
              <a:gd name="connsiteY18" fmla="*/ 23435 h 204740"/>
              <a:gd name="connsiteX19" fmla="*/ 76040 w 162304"/>
              <a:gd name="connsiteY19" fmla="*/ 24712 h 204740"/>
              <a:gd name="connsiteX20" fmla="*/ 148885 w 162304"/>
              <a:gd name="connsiteY20" fmla="*/ 31096 h 204740"/>
              <a:gd name="connsiteX21" fmla="*/ 148246 w 162304"/>
              <a:gd name="connsiteY21" fmla="*/ 112811 h 204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2304" h="204740">
                <a:moveTo>
                  <a:pt x="157831" y="14498"/>
                </a:moveTo>
                <a:cubicBezTo>
                  <a:pt x="155914" y="13221"/>
                  <a:pt x="153358" y="13859"/>
                  <a:pt x="151441" y="14498"/>
                </a:cubicBezTo>
                <a:cubicBezTo>
                  <a:pt x="150802" y="14498"/>
                  <a:pt x="110546" y="41311"/>
                  <a:pt x="84986" y="15136"/>
                </a:cubicBezTo>
                <a:cubicBezTo>
                  <a:pt x="58148" y="-11677"/>
                  <a:pt x="19170" y="3007"/>
                  <a:pt x="2556" y="14498"/>
                </a:cubicBezTo>
                <a:cubicBezTo>
                  <a:pt x="639" y="15775"/>
                  <a:pt x="0" y="17690"/>
                  <a:pt x="0" y="19605"/>
                </a:cubicBezTo>
                <a:lnTo>
                  <a:pt x="0" y="198356"/>
                </a:lnTo>
                <a:cubicBezTo>
                  <a:pt x="0" y="202187"/>
                  <a:pt x="2556" y="204740"/>
                  <a:pt x="6390" y="204740"/>
                </a:cubicBezTo>
                <a:cubicBezTo>
                  <a:pt x="10224" y="204740"/>
                  <a:pt x="12780" y="202187"/>
                  <a:pt x="12780" y="198356"/>
                </a:cubicBezTo>
                <a:lnTo>
                  <a:pt x="12780" y="119834"/>
                </a:lnTo>
                <a:cubicBezTo>
                  <a:pt x="22365" y="114088"/>
                  <a:pt x="53675" y="98128"/>
                  <a:pt x="76679" y="121110"/>
                </a:cubicBezTo>
                <a:cubicBezTo>
                  <a:pt x="102878" y="147285"/>
                  <a:pt x="141856" y="133240"/>
                  <a:pt x="159109" y="121749"/>
                </a:cubicBezTo>
                <a:cubicBezTo>
                  <a:pt x="161026" y="120472"/>
                  <a:pt x="162304" y="118557"/>
                  <a:pt x="162304" y="116642"/>
                </a:cubicBezTo>
                <a:lnTo>
                  <a:pt x="162304" y="20243"/>
                </a:lnTo>
                <a:cubicBezTo>
                  <a:pt x="161665" y="17690"/>
                  <a:pt x="159748" y="15136"/>
                  <a:pt x="157831" y="14498"/>
                </a:cubicBezTo>
                <a:close/>
                <a:moveTo>
                  <a:pt x="148246" y="112811"/>
                </a:moveTo>
                <a:cubicBezTo>
                  <a:pt x="138661" y="118557"/>
                  <a:pt x="106712" y="133878"/>
                  <a:pt x="84347" y="112173"/>
                </a:cubicBezTo>
                <a:cubicBezTo>
                  <a:pt x="74762" y="101958"/>
                  <a:pt x="60704" y="96851"/>
                  <a:pt x="46646" y="96851"/>
                </a:cubicBezTo>
                <a:cubicBezTo>
                  <a:pt x="34505" y="96851"/>
                  <a:pt x="23004" y="100043"/>
                  <a:pt x="12141" y="105789"/>
                </a:cubicBezTo>
                <a:lnTo>
                  <a:pt x="12141" y="23435"/>
                </a:lnTo>
                <a:cubicBezTo>
                  <a:pt x="21726" y="17690"/>
                  <a:pt x="53675" y="2368"/>
                  <a:pt x="76040" y="24712"/>
                </a:cubicBezTo>
                <a:cubicBezTo>
                  <a:pt x="98405" y="47056"/>
                  <a:pt x="129076" y="40672"/>
                  <a:pt x="148885" y="31096"/>
                </a:cubicBezTo>
                <a:lnTo>
                  <a:pt x="148246" y="112811"/>
                </a:lnTo>
                <a:close/>
              </a:path>
            </a:pathLst>
          </a:custGeom>
          <a:solidFill>
            <a:schemeClr val="bg1"/>
          </a:solidFill>
          <a:ln w="6390" cap="flat">
            <a:noFill/>
            <a:prstDash val="solid"/>
            <a:miter/>
          </a:ln>
        </p:spPr>
        <p:txBody>
          <a:bodyPr rtlCol="0" anchor="ctr"/>
          <a:lstStyle/>
          <a:p>
            <a:pPr marL="0" marR="0" lvl="0" indent="0" algn="l" defTabSz="326578" rtl="0" eaLnBrk="1" fontAlgn="auto" latinLnBrk="0" hangingPunct="1">
              <a:lnSpc>
                <a:spcPct val="100000"/>
              </a:lnSpc>
              <a:spcBef>
                <a:spcPts val="0"/>
              </a:spcBef>
              <a:spcAft>
                <a:spcPts val="0"/>
              </a:spcAft>
              <a:buClrTx/>
              <a:buSzTx/>
              <a:buFontTx/>
              <a:buNone/>
              <a:tabLst/>
              <a:defRPr/>
            </a:pPr>
            <a:endParaRPr kumimoji="0" lang="en-GB" sz="603" b="0" i="0" u="none" strike="noStrike" kern="1200" cap="none" spc="0" normalizeH="0" baseline="0" noProof="0" dirty="0">
              <a:ln>
                <a:noFill/>
              </a:ln>
              <a:effectLst/>
              <a:uLnTx/>
              <a:uFillTx/>
              <a:latin typeface="Calibri Light" panose="020F0302020204030204"/>
              <a:ea typeface="+mn-ea"/>
              <a:cs typeface="+mn-cs"/>
            </a:endParaRPr>
          </a:p>
        </p:txBody>
      </p:sp>
      <p:sp>
        <p:nvSpPr>
          <p:cNvPr id="797" name="Graphic 4">
            <a:extLst>
              <a:ext uri="{FF2B5EF4-FFF2-40B4-BE49-F238E27FC236}">
                <a16:creationId xmlns:a16="http://schemas.microsoft.com/office/drawing/2014/main" id="{471659BC-8AD1-119F-3FC8-3B39B5AC1182}"/>
              </a:ext>
            </a:extLst>
          </p:cNvPr>
          <p:cNvSpPr/>
          <p:nvPr/>
        </p:nvSpPr>
        <p:spPr>
          <a:xfrm>
            <a:off x="4642858" y="4074486"/>
            <a:ext cx="426193" cy="493046"/>
          </a:xfrm>
          <a:custGeom>
            <a:avLst/>
            <a:gdLst>
              <a:gd name="connsiteX0" fmla="*/ 207034 w 223653"/>
              <a:gd name="connsiteY0" fmla="*/ 77246 h 248336"/>
              <a:gd name="connsiteX1" fmla="*/ 205117 w 223653"/>
              <a:gd name="connsiteY1" fmla="*/ 75331 h 248336"/>
              <a:gd name="connsiteX2" fmla="*/ 211507 w 223653"/>
              <a:gd name="connsiteY2" fmla="*/ 51710 h 248336"/>
              <a:gd name="connsiteX3" fmla="*/ 159748 w 223653"/>
              <a:gd name="connsiteY3" fmla="*/ 0 h 248336"/>
              <a:gd name="connsiteX4" fmla="*/ 159748 w 223653"/>
              <a:gd name="connsiteY4" fmla="*/ 0 h 248336"/>
              <a:gd name="connsiteX5" fmla="*/ 115658 w 223653"/>
              <a:gd name="connsiteY5" fmla="*/ 25536 h 248336"/>
              <a:gd name="connsiteX6" fmla="*/ 113741 w 223653"/>
              <a:gd name="connsiteY6" fmla="*/ 25536 h 248336"/>
              <a:gd name="connsiteX7" fmla="*/ 112463 w 223653"/>
              <a:gd name="connsiteY7" fmla="*/ 24897 h 248336"/>
              <a:gd name="connsiteX8" fmla="*/ 0 w 223653"/>
              <a:gd name="connsiteY8" fmla="*/ 136617 h 248336"/>
              <a:gd name="connsiteX9" fmla="*/ 0 w 223653"/>
              <a:gd name="connsiteY9" fmla="*/ 136617 h 248336"/>
              <a:gd name="connsiteX10" fmla="*/ 110546 w 223653"/>
              <a:gd name="connsiteY10" fmla="*/ 248337 h 248336"/>
              <a:gd name="connsiteX11" fmla="*/ 111824 w 223653"/>
              <a:gd name="connsiteY11" fmla="*/ 248337 h 248336"/>
              <a:gd name="connsiteX12" fmla="*/ 112463 w 223653"/>
              <a:gd name="connsiteY12" fmla="*/ 248337 h 248336"/>
              <a:gd name="connsiteX13" fmla="*/ 223648 w 223653"/>
              <a:gd name="connsiteY13" fmla="*/ 135340 h 248336"/>
              <a:gd name="connsiteX14" fmla="*/ 216619 w 223653"/>
              <a:gd name="connsiteY14" fmla="*/ 97037 h 248336"/>
              <a:gd name="connsiteX15" fmla="*/ 207034 w 223653"/>
              <a:gd name="connsiteY15" fmla="*/ 77246 h 248336"/>
              <a:gd name="connsiteX16" fmla="*/ 200005 w 223653"/>
              <a:gd name="connsiteY16" fmla="*/ 183859 h 248336"/>
              <a:gd name="connsiteX17" fmla="*/ 152080 w 223653"/>
              <a:gd name="connsiteY17" fmla="*/ 183859 h 248336"/>
              <a:gd name="connsiteX18" fmla="*/ 155914 w 223653"/>
              <a:gd name="connsiteY18" fmla="*/ 143640 h 248336"/>
              <a:gd name="connsiteX19" fmla="*/ 211507 w 223653"/>
              <a:gd name="connsiteY19" fmla="*/ 143640 h 248336"/>
              <a:gd name="connsiteX20" fmla="*/ 200005 w 223653"/>
              <a:gd name="connsiteY20" fmla="*/ 183859 h 248336"/>
              <a:gd name="connsiteX21" fmla="*/ 113102 w 223653"/>
              <a:gd name="connsiteY21" fmla="*/ 236207 h 248336"/>
              <a:gd name="connsiteX22" fmla="*/ 111824 w 223653"/>
              <a:gd name="connsiteY22" fmla="*/ 236207 h 248336"/>
              <a:gd name="connsiteX23" fmla="*/ 88181 w 223653"/>
              <a:gd name="connsiteY23" fmla="*/ 195988 h 248336"/>
              <a:gd name="connsiteX24" fmla="*/ 137384 w 223653"/>
              <a:gd name="connsiteY24" fmla="*/ 195988 h 248336"/>
              <a:gd name="connsiteX25" fmla="*/ 113102 w 223653"/>
              <a:gd name="connsiteY25" fmla="*/ 236207 h 248336"/>
              <a:gd name="connsiteX26" fmla="*/ 84986 w 223653"/>
              <a:gd name="connsiteY26" fmla="*/ 183220 h 248336"/>
              <a:gd name="connsiteX27" fmla="*/ 81152 w 223653"/>
              <a:gd name="connsiteY27" fmla="*/ 143001 h 248336"/>
              <a:gd name="connsiteX28" fmla="*/ 143135 w 223653"/>
              <a:gd name="connsiteY28" fmla="*/ 143001 h 248336"/>
              <a:gd name="connsiteX29" fmla="*/ 139301 w 223653"/>
              <a:gd name="connsiteY29" fmla="*/ 183220 h 248336"/>
              <a:gd name="connsiteX30" fmla="*/ 84986 w 223653"/>
              <a:gd name="connsiteY30" fmla="*/ 183220 h 248336"/>
              <a:gd name="connsiteX31" fmla="*/ 13419 w 223653"/>
              <a:gd name="connsiteY31" fmla="*/ 143640 h 248336"/>
              <a:gd name="connsiteX32" fmla="*/ 68372 w 223653"/>
              <a:gd name="connsiteY32" fmla="*/ 143640 h 248336"/>
              <a:gd name="connsiteX33" fmla="*/ 72206 w 223653"/>
              <a:gd name="connsiteY33" fmla="*/ 183859 h 248336"/>
              <a:gd name="connsiteX34" fmla="*/ 24282 w 223653"/>
              <a:gd name="connsiteY34" fmla="*/ 183859 h 248336"/>
              <a:gd name="connsiteX35" fmla="*/ 13419 w 223653"/>
              <a:gd name="connsiteY35" fmla="*/ 143640 h 248336"/>
              <a:gd name="connsiteX36" fmla="*/ 24921 w 223653"/>
              <a:gd name="connsiteY36" fmla="*/ 90653 h 248336"/>
              <a:gd name="connsiteX37" fmla="*/ 72206 w 223653"/>
              <a:gd name="connsiteY37" fmla="*/ 90653 h 248336"/>
              <a:gd name="connsiteX38" fmla="*/ 68372 w 223653"/>
              <a:gd name="connsiteY38" fmla="*/ 130872 h 248336"/>
              <a:gd name="connsiteX39" fmla="*/ 13419 w 223653"/>
              <a:gd name="connsiteY39" fmla="*/ 130872 h 248336"/>
              <a:gd name="connsiteX40" fmla="*/ 24921 w 223653"/>
              <a:gd name="connsiteY40" fmla="*/ 90653 h 248336"/>
              <a:gd name="connsiteX41" fmla="*/ 24921 w 223653"/>
              <a:gd name="connsiteY41" fmla="*/ 90653 h 248336"/>
              <a:gd name="connsiteX42" fmla="*/ 110546 w 223653"/>
              <a:gd name="connsiteY42" fmla="*/ 38304 h 248336"/>
              <a:gd name="connsiteX43" fmla="*/ 108629 w 223653"/>
              <a:gd name="connsiteY43" fmla="*/ 51710 h 248336"/>
              <a:gd name="connsiteX44" fmla="*/ 116297 w 223653"/>
              <a:gd name="connsiteY44" fmla="*/ 77885 h 248336"/>
              <a:gd name="connsiteX45" fmla="*/ 116297 w 223653"/>
              <a:gd name="connsiteY45" fmla="*/ 77885 h 248336"/>
              <a:gd name="connsiteX46" fmla="*/ 88181 w 223653"/>
              <a:gd name="connsiteY46" fmla="*/ 77885 h 248336"/>
              <a:gd name="connsiteX47" fmla="*/ 110546 w 223653"/>
              <a:gd name="connsiteY47" fmla="*/ 38304 h 248336"/>
              <a:gd name="connsiteX48" fmla="*/ 110546 w 223653"/>
              <a:gd name="connsiteY48" fmla="*/ 38304 h 248336"/>
              <a:gd name="connsiteX49" fmla="*/ 124604 w 223653"/>
              <a:gd name="connsiteY49" fmla="*/ 90653 h 248336"/>
              <a:gd name="connsiteX50" fmla="*/ 142496 w 223653"/>
              <a:gd name="connsiteY50" fmla="*/ 118104 h 248336"/>
              <a:gd name="connsiteX51" fmla="*/ 142496 w 223653"/>
              <a:gd name="connsiteY51" fmla="*/ 121296 h 248336"/>
              <a:gd name="connsiteX52" fmla="*/ 142496 w 223653"/>
              <a:gd name="connsiteY52" fmla="*/ 130872 h 248336"/>
              <a:gd name="connsiteX53" fmla="*/ 81152 w 223653"/>
              <a:gd name="connsiteY53" fmla="*/ 130872 h 248336"/>
              <a:gd name="connsiteX54" fmla="*/ 84986 w 223653"/>
              <a:gd name="connsiteY54" fmla="*/ 90653 h 248336"/>
              <a:gd name="connsiteX55" fmla="*/ 124604 w 223653"/>
              <a:gd name="connsiteY55" fmla="*/ 90653 h 248336"/>
              <a:gd name="connsiteX56" fmla="*/ 211507 w 223653"/>
              <a:gd name="connsiteY56" fmla="*/ 130872 h 248336"/>
              <a:gd name="connsiteX57" fmla="*/ 169333 w 223653"/>
              <a:gd name="connsiteY57" fmla="*/ 130872 h 248336"/>
              <a:gd name="connsiteX58" fmla="*/ 198088 w 223653"/>
              <a:gd name="connsiteY58" fmla="*/ 86822 h 248336"/>
              <a:gd name="connsiteX59" fmla="*/ 205756 w 223653"/>
              <a:gd name="connsiteY59" fmla="*/ 102144 h 248336"/>
              <a:gd name="connsiteX60" fmla="*/ 211507 w 223653"/>
              <a:gd name="connsiteY60" fmla="*/ 130872 h 248336"/>
              <a:gd name="connsiteX61" fmla="*/ 211507 w 223653"/>
              <a:gd name="connsiteY61" fmla="*/ 130872 h 248336"/>
              <a:gd name="connsiteX62" fmla="*/ 159748 w 223653"/>
              <a:gd name="connsiteY62" fmla="*/ 12768 h 248336"/>
              <a:gd name="connsiteX63" fmla="*/ 159748 w 223653"/>
              <a:gd name="connsiteY63" fmla="*/ 12768 h 248336"/>
              <a:gd name="connsiteX64" fmla="*/ 198727 w 223653"/>
              <a:gd name="connsiteY64" fmla="*/ 51710 h 248336"/>
              <a:gd name="connsiteX65" fmla="*/ 193615 w 223653"/>
              <a:gd name="connsiteY65" fmla="*/ 70862 h 248336"/>
              <a:gd name="connsiteX66" fmla="*/ 160387 w 223653"/>
              <a:gd name="connsiteY66" fmla="*/ 121296 h 248336"/>
              <a:gd name="connsiteX67" fmla="*/ 127160 w 223653"/>
              <a:gd name="connsiteY67" fmla="*/ 71501 h 248336"/>
              <a:gd name="connsiteX68" fmla="*/ 122048 w 223653"/>
              <a:gd name="connsiteY68" fmla="*/ 51710 h 248336"/>
              <a:gd name="connsiteX69" fmla="*/ 159748 w 223653"/>
              <a:gd name="connsiteY69" fmla="*/ 12768 h 248336"/>
              <a:gd name="connsiteX70" fmla="*/ 89459 w 223653"/>
              <a:gd name="connsiteY70" fmla="*/ 40857 h 248336"/>
              <a:gd name="connsiteX71" fmla="*/ 74762 w 223653"/>
              <a:gd name="connsiteY71" fmla="*/ 77885 h 248336"/>
              <a:gd name="connsiteX72" fmla="*/ 32589 w 223653"/>
              <a:gd name="connsiteY72" fmla="*/ 77885 h 248336"/>
              <a:gd name="connsiteX73" fmla="*/ 89459 w 223653"/>
              <a:gd name="connsiteY73" fmla="*/ 40857 h 248336"/>
              <a:gd name="connsiteX74" fmla="*/ 89459 w 223653"/>
              <a:gd name="connsiteY74" fmla="*/ 40857 h 248336"/>
              <a:gd name="connsiteX75" fmla="*/ 33228 w 223653"/>
              <a:gd name="connsiteY75" fmla="*/ 196627 h 248336"/>
              <a:gd name="connsiteX76" fmla="*/ 74762 w 223653"/>
              <a:gd name="connsiteY76" fmla="*/ 196627 h 248336"/>
              <a:gd name="connsiteX77" fmla="*/ 88820 w 223653"/>
              <a:gd name="connsiteY77" fmla="*/ 233654 h 248336"/>
              <a:gd name="connsiteX78" fmla="*/ 33228 w 223653"/>
              <a:gd name="connsiteY78" fmla="*/ 196627 h 248336"/>
              <a:gd name="connsiteX79" fmla="*/ 33228 w 223653"/>
              <a:gd name="connsiteY79" fmla="*/ 196627 h 248336"/>
              <a:gd name="connsiteX80" fmla="*/ 135467 w 223653"/>
              <a:gd name="connsiteY80" fmla="*/ 233654 h 248336"/>
              <a:gd name="connsiteX81" fmla="*/ 149525 w 223653"/>
              <a:gd name="connsiteY81" fmla="*/ 196627 h 248336"/>
              <a:gd name="connsiteX82" fmla="*/ 191698 w 223653"/>
              <a:gd name="connsiteY82" fmla="*/ 196627 h 248336"/>
              <a:gd name="connsiteX83" fmla="*/ 135467 w 223653"/>
              <a:gd name="connsiteY83" fmla="*/ 233654 h 248336"/>
              <a:gd name="connsiteX84" fmla="*/ 135467 w 223653"/>
              <a:gd name="connsiteY84" fmla="*/ 233654 h 248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23653" h="248336">
                <a:moveTo>
                  <a:pt x="207034" y="77246"/>
                </a:moveTo>
                <a:cubicBezTo>
                  <a:pt x="206395" y="76608"/>
                  <a:pt x="205756" y="75969"/>
                  <a:pt x="205117" y="75331"/>
                </a:cubicBezTo>
                <a:cubicBezTo>
                  <a:pt x="209590" y="68309"/>
                  <a:pt x="211507" y="60009"/>
                  <a:pt x="211507" y="51710"/>
                </a:cubicBezTo>
                <a:cubicBezTo>
                  <a:pt x="211507" y="23621"/>
                  <a:pt x="188503" y="638"/>
                  <a:pt x="159748" y="0"/>
                </a:cubicBezTo>
                <a:lnTo>
                  <a:pt x="159748" y="0"/>
                </a:lnTo>
                <a:cubicBezTo>
                  <a:pt x="141218" y="0"/>
                  <a:pt x="124604" y="9576"/>
                  <a:pt x="115658" y="25536"/>
                </a:cubicBezTo>
                <a:lnTo>
                  <a:pt x="113741" y="25536"/>
                </a:lnTo>
                <a:cubicBezTo>
                  <a:pt x="113102" y="25536"/>
                  <a:pt x="113102" y="25536"/>
                  <a:pt x="112463" y="24897"/>
                </a:cubicBezTo>
                <a:cubicBezTo>
                  <a:pt x="50481" y="24897"/>
                  <a:pt x="639" y="74693"/>
                  <a:pt x="0" y="136617"/>
                </a:cubicBezTo>
                <a:cubicBezTo>
                  <a:pt x="0" y="136617"/>
                  <a:pt x="0" y="136617"/>
                  <a:pt x="0" y="136617"/>
                </a:cubicBezTo>
                <a:cubicBezTo>
                  <a:pt x="0" y="197903"/>
                  <a:pt x="49202" y="247699"/>
                  <a:pt x="110546" y="248337"/>
                </a:cubicBezTo>
                <a:cubicBezTo>
                  <a:pt x="111185" y="248337"/>
                  <a:pt x="111185" y="248337"/>
                  <a:pt x="111824" y="248337"/>
                </a:cubicBezTo>
                <a:lnTo>
                  <a:pt x="112463" y="248337"/>
                </a:lnTo>
                <a:cubicBezTo>
                  <a:pt x="174445" y="247699"/>
                  <a:pt x="224287" y="197265"/>
                  <a:pt x="223648" y="135340"/>
                </a:cubicBezTo>
                <a:cubicBezTo>
                  <a:pt x="223648" y="121934"/>
                  <a:pt x="221092" y="109166"/>
                  <a:pt x="216619" y="97037"/>
                </a:cubicBezTo>
                <a:cubicBezTo>
                  <a:pt x="214702" y="90653"/>
                  <a:pt x="211507" y="83630"/>
                  <a:pt x="207034" y="77246"/>
                </a:cubicBezTo>
                <a:close/>
                <a:moveTo>
                  <a:pt x="200005" y="183859"/>
                </a:moveTo>
                <a:lnTo>
                  <a:pt x="152080" y="183859"/>
                </a:lnTo>
                <a:cubicBezTo>
                  <a:pt x="153997" y="170452"/>
                  <a:pt x="155275" y="157046"/>
                  <a:pt x="155914" y="143640"/>
                </a:cubicBezTo>
                <a:lnTo>
                  <a:pt x="211507" y="143640"/>
                </a:lnTo>
                <a:cubicBezTo>
                  <a:pt x="210868" y="157684"/>
                  <a:pt x="207034" y="171091"/>
                  <a:pt x="200005" y="183859"/>
                </a:cubicBezTo>
                <a:close/>
                <a:moveTo>
                  <a:pt x="113102" y="236207"/>
                </a:moveTo>
                <a:lnTo>
                  <a:pt x="111824" y="236207"/>
                </a:lnTo>
                <a:cubicBezTo>
                  <a:pt x="104156" y="235569"/>
                  <a:pt x="94571" y="220886"/>
                  <a:pt x="88181" y="195988"/>
                </a:cubicBezTo>
                <a:lnTo>
                  <a:pt x="137384" y="195988"/>
                </a:lnTo>
                <a:cubicBezTo>
                  <a:pt x="130355" y="221524"/>
                  <a:pt x="120770" y="235569"/>
                  <a:pt x="113102" y="236207"/>
                </a:cubicBezTo>
                <a:close/>
                <a:moveTo>
                  <a:pt x="84986" y="183220"/>
                </a:moveTo>
                <a:cubicBezTo>
                  <a:pt x="82430" y="169814"/>
                  <a:pt x="81152" y="156408"/>
                  <a:pt x="81152" y="143001"/>
                </a:cubicBezTo>
                <a:lnTo>
                  <a:pt x="143135" y="143001"/>
                </a:lnTo>
                <a:cubicBezTo>
                  <a:pt x="143135" y="156408"/>
                  <a:pt x="141857" y="169814"/>
                  <a:pt x="139301" y="183220"/>
                </a:cubicBezTo>
                <a:lnTo>
                  <a:pt x="84986" y="183220"/>
                </a:lnTo>
                <a:close/>
                <a:moveTo>
                  <a:pt x="13419" y="143640"/>
                </a:moveTo>
                <a:lnTo>
                  <a:pt x="68372" y="143640"/>
                </a:lnTo>
                <a:cubicBezTo>
                  <a:pt x="68372" y="157046"/>
                  <a:pt x="69650" y="170452"/>
                  <a:pt x="72206" y="183859"/>
                </a:cubicBezTo>
                <a:lnTo>
                  <a:pt x="24282" y="183859"/>
                </a:lnTo>
                <a:cubicBezTo>
                  <a:pt x="17892" y="171091"/>
                  <a:pt x="14058" y="157684"/>
                  <a:pt x="13419" y="143640"/>
                </a:cubicBezTo>
                <a:close/>
                <a:moveTo>
                  <a:pt x="24921" y="90653"/>
                </a:moveTo>
                <a:lnTo>
                  <a:pt x="72206" y="90653"/>
                </a:lnTo>
                <a:cubicBezTo>
                  <a:pt x="70289" y="104059"/>
                  <a:pt x="69011" y="117465"/>
                  <a:pt x="68372" y="130872"/>
                </a:cubicBezTo>
                <a:lnTo>
                  <a:pt x="13419" y="130872"/>
                </a:lnTo>
                <a:cubicBezTo>
                  <a:pt x="14058" y="116827"/>
                  <a:pt x="17892" y="102782"/>
                  <a:pt x="24921" y="90653"/>
                </a:cubicBezTo>
                <a:lnTo>
                  <a:pt x="24921" y="90653"/>
                </a:lnTo>
                <a:close/>
                <a:moveTo>
                  <a:pt x="110546" y="38304"/>
                </a:moveTo>
                <a:cubicBezTo>
                  <a:pt x="109268" y="42773"/>
                  <a:pt x="108629" y="47241"/>
                  <a:pt x="108629" y="51710"/>
                </a:cubicBezTo>
                <a:cubicBezTo>
                  <a:pt x="108629" y="61286"/>
                  <a:pt x="111185" y="70224"/>
                  <a:pt x="116297" y="77885"/>
                </a:cubicBezTo>
                <a:lnTo>
                  <a:pt x="116297" y="77885"/>
                </a:lnTo>
                <a:lnTo>
                  <a:pt x="88181" y="77885"/>
                </a:lnTo>
                <a:cubicBezTo>
                  <a:pt x="93932" y="54264"/>
                  <a:pt x="102878" y="40219"/>
                  <a:pt x="110546" y="38304"/>
                </a:cubicBezTo>
                <a:lnTo>
                  <a:pt x="110546" y="38304"/>
                </a:lnTo>
                <a:close/>
                <a:moveTo>
                  <a:pt x="124604" y="90653"/>
                </a:moveTo>
                <a:lnTo>
                  <a:pt x="142496" y="118104"/>
                </a:lnTo>
                <a:lnTo>
                  <a:pt x="142496" y="121296"/>
                </a:lnTo>
                <a:cubicBezTo>
                  <a:pt x="142496" y="124488"/>
                  <a:pt x="142496" y="127680"/>
                  <a:pt x="142496" y="130872"/>
                </a:cubicBezTo>
                <a:lnTo>
                  <a:pt x="81152" y="130872"/>
                </a:lnTo>
                <a:cubicBezTo>
                  <a:pt x="81152" y="117465"/>
                  <a:pt x="82430" y="104059"/>
                  <a:pt x="84986" y="90653"/>
                </a:cubicBezTo>
                <a:lnTo>
                  <a:pt x="124604" y="90653"/>
                </a:lnTo>
                <a:close/>
                <a:moveTo>
                  <a:pt x="211507" y="130872"/>
                </a:moveTo>
                <a:lnTo>
                  <a:pt x="169333" y="130872"/>
                </a:lnTo>
                <a:lnTo>
                  <a:pt x="198088" y="86822"/>
                </a:lnTo>
                <a:cubicBezTo>
                  <a:pt x="201283" y="91929"/>
                  <a:pt x="203200" y="97037"/>
                  <a:pt x="205756" y="102144"/>
                </a:cubicBezTo>
                <a:cubicBezTo>
                  <a:pt x="208951" y="111081"/>
                  <a:pt x="210868" y="120657"/>
                  <a:pt x="211507" y="130872"/>
                </a:cubicBezTo>
                <a:lnTo>
                  <a:pt x="211507" y="130872"/>
                </a:lnTo>
                <a:close/>
                <a:moveTo>
                  <a:pt x="159748" y="12768"/>
                </a:moveTo>
                <a:lnTo>
                  <a:pt x="159748" y="12768"/>
                </a:lnTo>
                <a:cubicBezTo>
                  <a:pt x="181474" y="12768"/>
                  <a:pt x="198727" y="30005"/>
                  <a:pt x="198727" y="51710"/>
                </a:cubicBezTo>
                <a:cubicBezTo>
                  <a:pt x="198727" y="58733"/>
                  <a:pt x="196810" y="65117"/>
                  <a:pt x="193615" y="70862"/>
                </a:cubicBezTo>
                <a:lnTo>
                  <a:pt x="160387" y="121296"/>
                </a:lnTo>
                <a:lnTo>
                  <a:pt x="127160" y="71501"/>
                </a:lnTo>
                <a:cubicBezTo>
                  <a:pt x="123326" y="65755"/>
                  <a:pt x="121409" y="58733"/>
                  <a:pt x="122048" y="51710"/>
                </a:cubicBezTo>
                <a:cubicBezTo>
                  <a:pt x="121409" y="30643"/>
                  <a:pt x="138662" y="13406"/>
                  <a:pt x="159748" y="12768"/>
                </a:cubicBezTo>
                <a:close/>
                <a:moveTo>
                  <a:pt x="89459" y="40857"/>
                </a:moveTo>
                <a:cubicBezTo>
                  <a:pt x="82430" y="52349"/>
                  <a:pt x="77957" y="65117"/>
                  <a:pt x="74762" y="77885"/>
                </a:cubicBezTo>
                <a:lnTo>
                  <a:pt x="32589" y="77885"/>
                </a:lnTo>
                <a:cubicBezTo>
                  <a:pt x="46647" y="59371"/>
                  <a:pt x="66455" y="45965"/>
                  <a:pt x="89459" y="40857"/>
                </a:cubicBezTo>
                <a:lnTo>
                  <a:pt x="89459" y="40857"/>
                </a:lnTo>
                <a:close/>
                <a:moveTo>
                  <a:pt x="33228" y="196627"/>
                </a:moveTo>
                <a:lnTo>
                  <a:pt x="74762" y="196627"/>
                </a:lnTo>
                <a:cubicBezTo>
                  <a:pt x="77318" y="209395"/>
                  <a:pt x="82430" y="222163"/>
                  <a:pt x="88820" y="233654"/>
                </a:cubicBezTo>
                <a:cubicBezTo>
                  <a:pt x="66455" y="227908"/>
                  <a:pt x="46647" y="215140"/>
                  <a:pt x="33228" y="196627"/>
                </a:cubicBezTo>
                <a:lnTo>
                  <a:pt x="33228" y="196627"/>
                </a:lnTo>
                <a:close/>
                <a:moveTo>
                  <a:pt x="135467" y="233654"/>
                </a:moveTo>
                <a:cubicBezTo>
                  <a:pt x="142496" y="222163"/>
                  <a:pt x="146969" y="209395"/>
                  <a:pt x="149525" y="196627"/>
                </a:cubicBezTo>
                <a:lnTo>
                  <a:pt x="191698" y="196627"/>
                </a:lnTo>
                <a:cubicBezTo>
                  <a:pt x="178279" y="215140"/>
                  <a:pt x="157831" y="227908"/>
                  <a:pt x="135467" y="233654"/>
                </a:cubicBezTo>
                <a:lnTo>
                  <a:pt x="135467" y="233654"/>
                </a:lnTo>
                <a:close/>
              </a:path>
            </a:pathLst>
          </a:custGeom>
          <a:solidFill>
            <a:srgbClr val="0097A9"/>
          </a:solidFill>
          <a:ln w="6390" cap="flat">
            <a:noFill/>
            <a:prstDash val="solid"/>
            <a:miter/>
          </a:ln>
        </p:spPr>
        <p:txBody>
          <a:bodyPr rtlCol="0" anchor="ctr"/>
          <a:lstStyle/>
          <a:p>
            <a:endParaRPr lang="en-US"/>
          </a:p>
        </p:txBody>
      </p:sp>
      <p:grpSp>
        <p:nvGrpSpPr>
          <p:cNvPr id="798" name="Graphic 4">
            <a:extLst>
              <a:ext uri="{FF2B5EF4-FFF2-40B4-BE49-F238E27FC236}">
                <a16:creationId xmlns:a16="http://schemas.microsoft.com/office/drawing/2014/main" id="{573DA568-3CDB-D4B1-753F-A22EEE13D8EF}"/>
              </a:ext>
            </a:extLst>
          </p:cNvPr>
          <p:cNvGrpSpPr/>
          <p:nvPr/>
        </p:nvGrpSpPr>
        <p:grpSpPr>
          <a:xfrm>
            <a:off x="4588459" y="2773872"/>
            <a:ext cx="592525" cy="559557"/>
            <a:chOff x="4729831" y="3907159"/>
            <a:chExt cx="224948" cy="196626"/>
          </a:xfrm>
          <a:solidFill>
            <a:srgbClr val="046A38"/>
          </a:solidFill>
        </p:grpSpPr>
        <p:sp>
          <p:nvSpPr>
            <p:cNvPr id="800" name="Graphic 4">
              <a:extLst>
                <a:ext uri="{FF2B5EF4-FFF2-40B4-BE49-F238E27FC236}">
                  <a16:creationId xmlns:a16="http://schemas.microsoft.com/office/drawing/2014/main" id="{51F83C31-2E7C-275C-E37B-56DC6D53137D}"/>
                </a:ext>
              </a:extLst>
            </p:cNvPr>
            <p:cNvSpPr/>
            <p:nvPr/>
          </p:nvSpPr>
          <p:spPr>
            <a:xfrm>
              <a:off x="4729831" y="3907159"/>
              <a:ext cx="224948" cy="196626"/>
            </a:xfrm>
            <a:custGeom>
              <a:avLst/>
              <a:gdLst>
                <a:gd name="connsiteX0" fmla="*/ 197449 w 224948"/>
                <a:gd name="connsiteY0" fmla="*/ 0 h 196626"/>
                <a:gd name="connsiteX1" fmla="*/ 28115 w 224948"/>
                <a:gd name="connsiteY1" fmla="*/ 0 h 196626"/>
                <a:gd name="connsiteX2" fmla="*/ 0 w 224948"/>
                <a:gd name="connsiteY2" fmla="*/ 28728 h 196626"/>
                <a:gd name="connsiteX3" fmla="*/ 0 w 224948"/>
                <a:gd name="connsiteY3" fmla="*/ 128318 h 196626"/>
                <a:gd name="connsiteX4" fmla="*/ 28115 w 224948"/>
                <a:gd name="connsiteY4" fmla="*/ 157046 h 196626"/>
                <a:gd name="connsiteX5" fmla="*/ 84986 w 224948"/>
                <a:gd name="connsiteY5" fmla="*/ 157046 h 196626"/>
                <a:gd name="connsiteX6" fmla="*/ 83069 w 224948"/>
                <a:gd name="connsiteY6" fmla="*/ 171091 h 196626"/>
                <a:gd name="connsiteX7" fmla="*/ 67733 w 224948"/>
                <a:gd name="connsiteY7" fmla="*/ 171091 h 196626"/>
                <a:gd name="connsiteX8" fmla="*/ 54953 w 224948"/>
                <a:gd name="connsiteY8" fmla="*/ 183859 h 196626"/>
                <a:gd name="connsiteX9" fmla="*/ 67733 w 224948"/>
                <a:gd name="connsiteY9" fmla="*/ 196627 h 196626"/>
                <a:gd name="connsiteX10" fmla="*/ 157192 w 224948"/>
                <a:gd name="connsiteY10" fmla="*/ 196627 h 196626"/>
                <a:gd name="connsiteX11" fmla="*/ 169972 w 224948"/>
                <a:gd name="connsiteY11" fmla="*/ 183859 h 196626"/>
                <a:gd name="connsiteX12" fmla="*/ 157192 w 224948"/>
                <a:gd name="connsiteY12" fmla="*/ 171091 h 196626"/>
                <a:gd name="connsiteX13" fmla="*/ 141857 w 224948"/>
                <a:gd name="connsiteY13" fmla="*/ 171091 h 196626"/>
                <a:gd name="connsiteX14" fmla="*/ 139939 w 224948"/>
                <a:gd name="connsiteY14" fmla="*/ 157046 h 196626"/>
                <a:gd name="connsiteX15" fmla="*/ 196810 w 224948"/>
                <a:gd name="connsiteY15" fmla="*/ 157046 h 196626"/>
                <a:gd name="connsiteX16" fmla="*/ 224926 w 224948"/>
                <a:gd name="connsiteY16" fmla="*/ 128318 h 196626"/>
                <a:gd name="connsiteX17" fmla="*/ 224926 w 224948"/>
                <a:gd name="connsiteY17" fmla="*/ 28728 h 196626"/>
                <a:gd name="connsiteX18" fmla="*/ 197449 w 224948"/>
                <a:gd name="connsiteY18" fmla="*/ 0 h 196626"/>
                <a:gd name="connsiteX19" fmla="*/ 157192 w 224948"/>
                <a:gd name="connsiteY19" fmla="*/ 182582 h 196626"/>
                <a:gd name="connsiteX20" fmla="*/ 157192 w 224948"/>
                <a:gd name="connsiteY20" fmla="*/ 182582 h 196626"/>
                <a:gd name="connsiteX21" fmla="*/ 157192 w 224948"/>
                <a:gd name="connsiteY21" fmla="*/ 188966 h 196626"/>
                <a:gd name="connsiteX22" fmla="*/ 157192 w 224948"/>
                <a:gd name="connsiteY22" fmla="*/ 182582 h 196626"/>
                <a:gd name="connsiteX23" fmla="*/ 129077 w 224948"/>
                <a:gd name="connsiteY23" fmla="*/ 168537 h 196626"/>
                <a:gd name="connsiteX24" fmla="*/ 96488 w 224948"/>
                <a:gd name="connsiteY24" fmla="*/ 168537 h 196626"/>
                <a:gd name="connsiteX25" fmla="*/ 97766 w 224948"/>
                <a:gd name="connsiteY25" fmla="*/ 156408 h 196626"/>
                <a:gd name="connsiteX26" fmla="*/ 127160 w 224948"/>
                <a:gd name="connsiteY26" fmla="*/ 156408 h 196626"/>
                <a:gd name="connsiteX27" fmla="*/ 129077 w 224948"/>
                <a:gd name="connsiteY27" fmla="*/ 168537 h 196626"/>
                <a:gd name="connsiteX28" fmla="*/ 212785 w 224948"/>
                <a:gd name="connsiteY28" fmla="*/ 127680 h 196626"/>
                <a:gd name="connsiteX29" fmla="*/ 197449 w 224948"/>
                <a:gd name="connsiteY29" fmla="*/ 143640 h 196626"/>
                <a:gd name="connsiteX30" fmla="*/ 132911 w 224948"/>
                <a:gd name="connsiteY30" fmla="*/ 143640 h 196626"/>
                <a:gd name="connsiteX31" fmla="*/ 92015 w 224948"/>
                <a:gd name="connsiteY31" fmla="*/ 143640 h 196626"/>
                <a:gd name="connsiteX32" fmla="*/ 27477 w 224948"/>
                <a:gd name="connsiteY32" fmla="*/ 143640 h 196626"/>
                <a:gd name="connsiteX33" fmla="*/ 12141 w 224948"/>
                <a:gd name="connsiteY33" fmla="*/ 127680 h 196626"/>
                <a:gd name="connsiteX34" fmla="*/ 12141 w 224948"/>
                <a:gd name="connsiteY34" fmla="*/ 28089 h 196626"/>
                <a:gd name="connsiteX35" fmla="*/ 27477 w 224948"/>
                <a:gd name="connsiteY35" fmla="*/ 12129 h 196626"/>
                <a:gd name="connsiteX36" fmla="*/ 196810 w 224948"/>
                <a:gd name="connsiteY36" fmla="*/ 12129 h 196626"/>
                <a:gd name="connsiteX37" fmla="*/ 212146 w 224948"/>
                <a:gd name="connsiteY37" fmla="*/ 28089 h 196626"/>
                <a:gd name="connsiteX38" fmla="*/ 212146 w 224948"/>
                <a:gd name="connsiteY38" fmla="*/ 127680 h 19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4948" h="196626">
                  <a:moveTo>
                    <a:pt x="197449" y="0"/>
                  </a:moveTo>
                  <a:lnTo>
                    <a:pt x="28115" y="0"/>
                  </a:lnTo>
                  <a:cubicBezTo>
                    <a:pt x="12141" y="0"/>
                    <a:pt x="0" y="12768"/>
                    <a:pt x="0" y="28728"/>
                  </a:cubicBezTo>
                  <a:lnTo>
                    <a:pt x="0" y="128318"/>
                  </a:lnTo>
                  <a:cubicBezTo>
                    <a:pt x="0" y="144278"/>
                    <a:pt x="12780" y="157046"/>
                    <a:pt x="28115" y="157046"/>
                  </a:cubicBezTo>
                  <a:lnTo>
                    <a:pt x="84986" y="157046"/>
                  </a:lnTo>
                  <a:lnTo>
                    <a:pt x="83069" y="171091"/>
                  </a:lnTo>
                  <a:lnTo>
                    <a:pt x="67733" y="171091"/>
                  </a:lnTo>
                  <a:cubicBezTo>
                    <a:pt x="60704" y="171091"/>
                    <a:pt x="54953" y="176836"/>
                    <a:pt x="54953" y="183859"/>
                  </a:cubicBezTo>
                  <a:cubicBezTo>
                    <a:pt x="54953" y="190881"/>
                    <a:pt x="60704" y="196627"/>
                    <a:pt x="67733" y="196627"/>
                  </a:cubicBezTo>
                  <a:lnTo>
                    <a:pt x="157192" y="196627"/>
                  </a:lnTo>
                  <a:cubicBezTo>
                    <a:pt x="164221" y="196627"/>
                    <a:pt x="169972" y="190881"/>
                    <a:pt x="169972" y="183859"/>
                  </a:cubicBezTo>
                  <a:cubicBezTo>
                    <a:pt x="169972" y="176836"/>
                    <a:pt x="164221" y="171091"/>
                    <a:pt x="157192" y="171091"/>
                  </a:cubicBezTo>
                  <a:lnTo>
                    <a:pt x="141857" y="171091"/>
                  </a:lnTo>
                  <a:lnTo>
                    <a:pt x="139939" y="157046"/>
                  </a:lnTo>
                  <a:lnTo>
                    <a:pt x="196810" y="157046"/>
                  </a:lnTo>
                  <a:cubicBezTo>
                    <a:pt x="212785" y="157046"/>
                    <a:pt x="224926" y="144278"/>
                    <a:pt x="224926" y="128318"/>
                  </a:cubicBezTo>
                  <a:lnTo>
                    <a:pt x="224926" y="28728"/>
                  </a:lnTo>
                  <a:cubicBezTo>
                    <a:pt x="225565" y="12768"/>
                    <a:pt x="212785" y="0"/>
                    <a:pt x="197449" y="0"/>
                  </a:cubicBezTo>
                  <a:close/>
                  <a:moveTo>
                    <a:pt x="157192" y="182582"/>
                  </a:moveTo>
                  <a:lnTo>
                    <a:pt x="157192" y="182582"/>
                  </a:lnTo>
                  <a:lnTo>
                    <a:pt x="157192" y="188966"/>
                  </a:lnTo>
                  <a:lnTo>
                    <a:pt x="157192" y="182582"/>
                  </a:lnTo>
                  <a:close/>
                  <a:moveTo>
                    <a:pt x="129077" y="168537"/>
                  </a:moveTo>
                  <a:lnTo>
                    <a:pt x="96488" y="168537"/>
                  </a:lnTo>
                  <a:lnTo>
                    <a:pt x="97766" y="156408"/>
                  </a:lnTo>
                  <a:lnTo>
                    <a:pt x="127160" y="156408"/>
                  </a:lnTo>
                  <a:lnTo>
                    <a:pt x="129077" y="168537"/>
                  </a:lnTo>
                  <a:close/>
                  <a:moveTo>
                    <a:pt x="212785" y="127680"/>
                  </a:moveTo>
                  <a:cubicBezTo>
                    <a:pt x="212785" y="136617"/>
                    <a:pt x="205756" y="143640"/>
                    <a:pt x="197449" y="143640"/>
                  </a:cubicBezTo>
                  <a:lnTo>
                    <a:pt x="132911" y="143640"/>
                  </a:lnTo>
                  <a:lnTo>
                    <a:pt x="92015" y="143640"/>
                  </a:lnTo>
                  <a:lnTo>
                    <a:pt x="27477" y="143640"/>
                  </a:lnTo>
                  <a:cubicBezTo>
                    <a:pt x="18531" y="143640"/>
                    <a:pt x="12141" y="136617"/>
                    <a:pt x="12141" y="127680"/>
                  </a:cubicBezTo>
                  <a:lnTo>
                    <a:pt x="12141" y="28089"/>
                  </a:lnTo>
                  <a:cubicBezTo>
                    <a:pt x="12141" y="19152"/>
                    <a:pt x="19170" y="12129"/>
                    <a:pt x="27477" y="12129"/>
                  </a:cubicBezTo>
                  <a:lnTo>
                    <a:pt x="196810" y="12129"/>
                  </a:lnTo>
                  <a:cubicBezTo>
                    <a:pt x="205756" y="12129"/>
                    <a:pt x="212146" y="19152"/>
                    <a:pt x="212146" y="28089"/>
                  </a:cubicBezTo>
                  <a:lnTo>
                    <a:pt x="212146" y="127680"/>
                  </a:lnTo>
                  <a:close/>
                </a:path>
              </a:pathLst>
            </a:custGeom>
            <a:grpFill/>
            <a:ln w="6390" cap="flat">
              <a:noFill/>
              <a:prstDash val="solid"/>
              <a:miter/>
            </a:ln>
          </p:spPr>
          <p:txBody>
            <a:bodyPr rtlCol="0" anchor="ctr"/>
            <a:lstStyle/>
            <a:p>
              <a:endParaRPr lang="en-US"/>
            </a:p>
          </p:txBody>
        </p:sp>
        <p:sp>
          <p:nvSpPr>
            <p:cNvPr id="801" name="Graphic 4">
              <a:extLst>
                <a:ext uri="{FF2B5EF4-FFF2-40B4-BE49-F238E27FC236}">
                  <a16:creationId xmlns:a16="http://schemas.microsoft.com/office/drawing/2014/main" id="{2A1FB0BB-4BA3-C48F-AEFF-D3A8750ABEC5}"/>
                </a:ext>
              </a:extLst>
            </p:cNvPr>
            <p:cNvSpPr/>
            <p:nvPr/>
          </p:nvSpPr>
          <p:spPr>
            <a:xfrm>
              <a:off x="4750017" y="3922383"/>
              <a:ext cx="183652" cy="79897"/>
            </a:xfrm>
            <a:custGeom>
              <a:avLst/>
              <a:gdLst>
                <a:gd name="connsiteX0" fmla="*/ 6652 w 183652"/>
                <a:gd name="connsiteY0" fmla="*/ 79898 h 79897"/>
                <a:gd name="connsiteX1" fmla="*/ 9847 w 183652"/>
                <a:gd name="connsiteY1" fmla="*/ 79259 h 79897"/>
                <a:gd name="connsiteX2" fmla="*/ 83970 w 183652"/>
                <a:gd name="connsiteY2" fmla="*/ 39679 h 79897"/>
                <a:gd name="connsiteX3" fmla="*/ 105057 w 183652"/>
                <a:gd name="connsiteY3" fmla="*/ 57554 h 79897"/>
                <a:gd name="connsiteX4" fmla="*/ 112725 w 183652"/>
                <a:gd name="connsiteY4" fmla="*/ 58192 h 79897"/>
                <a:gd name="connsiteX5" fmla="*/ 166400 w 183652"/>
                <a:gd name="connsiteY5" fmla="*/ 23080 h 79897"/>
                <a:gd name="connsiteX6" fmla="*/ 170873 w 183652"/>
                <a:gd name="connsiteY6" fmla="*/ 28826 h 79897"/>
                <a:gd name="connsiteX7" fmla="*/ 172790 w 183652"/>
                <a:gd name="connsiteY7" fmla="*/ 29464 h 79897"/>
                <a:gd name="connsiteX8" fmla="*/ 178541 w 183652"/>
                <a:gd name="connsiteY8" fmla="*/ 24995 h 79897"/>
                <a:gd name="connsiteX9" fmla="*/ 183653 w 183652"/>
                <a:gd name="connsiteY9" fmla="*/ 10312 h 79897"/>
                <a:gd name="connsiteX10" fmla="*/ 183653 w 183652"/>
                <a:gd name="connsiteY10" fmla="*/ 9674 h 79897"/>
                <a:gd name="connsiteX11" fmla="*/ 183653 w 183652"/>
                <a:gd name="connsiteY11" fmla="*/ 7759 h 79897"/>
                <a:gd name="connsiteX12" fmla="*/ 183653 w 183652"/>
                <a:gd name="connsiteY12" fmla="*/ 7120 h 79897"/>
                <a:gd name="connsiteX13" fmla="*/ 183014 w 183652"/>
                <a:gd name="connsiteY13" fmla="*/ 5205 h 79897"/>
                <a:gd name="connsiteX14" fmla="*/ 183014 w 183652"/>
                <a:gd name="connsiteY14" fmla="*/ 4567 h 79897"/>
                <a:gd name="connsiteX15" fmla="*/ 183014 w 183652"/>
                <a:gd name="connsiteY15" fmla="*/ 4567 h 79897"/>
                <a:gd name="connsiteX16" fmla="*/ 183014 w 183652"/>
                <a:gd name="connsiteY16" fmla="*/ 4567 h 79897"/>
                <a:gd name="connsiteX17" fmla="*/ 181097 w 183652"/>
                <a:gd name="connsiteY17" fmla="*/ 2651 h 79897"/>
                <a:gd name="connsiteX18" fmla="*/ 180458 w 183652"/>
                <a:gd name="connsiteY18" fmla="*/ 2651 h 79897"/>
                <a:gd name="connsiteX19" fmla="*/ 178541 w 183652"/>
                <a:gd name="connsiteY19" fmla="*/ 2013 h 79897"/>
                <a:gd name="connsiteX20" fmla="*/ 178541 w 183652"/>
                <a:gd name="connsiteY20" fmla="*/ 2013 h 79897"/>
                <a:gd name="connsiteX21" fmla="*/ 163205 w 183652"/>
                <a:gd name="connsiteY21" fmla="*/ 98 h 79897"/>
                <a:gd name="connsiteX22" fmla="*/ 156176 w 183652"/>
                <a:gd name="connsiteY22" fmla="*/ 5843 h 79897"/>
                <a:gd name="connsiteX23" fmla="*/ 160010 w 183652"/>
                <a:gd name="connsiteY23" fmla="*/ 12227 h 79897"/>
                <a:gd name="connsiteX24" fmla="*/ 109530 w 183652"/>
                <a:gd name="connsiteY24" fmla="*/ 44786 h 79897"/>
                <a:gd name="connsiteX25" fmla="*/ 88443 w 183652"/>
                <a:gd name="connsiteY25" fmla="*/ 26911 h 79897"/>
                <a:gd name="connsiteX26" fmla="*/ 81414 w 183652"/>
                <a:gd name="connsiteY26" fmla="*/ 26272 h 79897"/>
                <a:gd name="connsiteX27" fmla="*/ 3457 w 183652"/>
                <a:gd name="connsiteY27" fmla="*/ 67768 h 79897"/>
                <a:gd name="connsiteX28" fmla="*/ 901 w 183652"/>
                <a:gd name="connsiteY28" fmla="*/ 76706 h 79897"/>
                <a:gd name="connsiteX29" fmla="*/ 6652 w 183652"/>
                <a:gd name="connsiteY29" fmla="*/ 79898 h 7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3652" h="79897">
                  <a:moveTo>
                    <a:pt x="6652" y="79898"/>
                  </a:moveTo>
                  <a:cubicBezTo>
                    <a:pt x="7929" y="79898"/>
                    <a:pt x="8569" y="79898"/>
                    <a:pt x="9847" y="79259"/>
                  </a:cubicBezTo>
                  <a:lnTo>
                    <a:pt x="83970" y="39679"/>
                  </a:lnTo>
                  <a:lnTo>
                    <a:pt x="105057" y="57554"/>
                  </a:lnTo>
                  <a:cubicBezTo>
                    <a:pt x="106973" y="59469"/>
                    <a:pt x="110168" y="59469"/>
                    <a:pt x="112725" y="58192"/>
                  </a:cubicBezTo>
                  <a:lnTo>
                    <a:pt x="166400" y="23080"/>
                  </a:lnTo>
                  <a:cubicBezTo>
                    <a:pt x="166400" y="25634"/>
                    <a:pt x="168317" y="27549"/>
                    <a:pt x="170873" y="28826"/>
                  </a:cubicBezTo>
                  <a:cubicBezTo>
                    <a:pt x="171512" y="28826"/>
                    <a:pt x="172151" y="29464"/>
                    <a:pt x="172790" y="29464"/>
                  </a:cubicBezTo>
                  <a:cubicBezTo>
                    <a:pt x="175346" y="29464"/>
                    <a:pt x="177902" y="27549"/>
                    <a:pt x="178541" y="24995"/>
                  </a:cubicBezTo>
                  <a:lnTo>
                    <a:pt x="183653" y="10312"/>
                  </a:lnTo>
                  <a:cubicBezTo>
                    <a:pt x="183653" y="10312"/>
                    <a:pt x="183653" y="10312"/>
                    <a:pt x="183653" y="9674"/>
                  </a:cubicBezTo>
                  <a:cubicBezTo>
                    <a:pt x="183653" y="9035"/>
                    <a:pt x="183653" y="8397"/>
                    <a:pt x="183653" y="7759"/>
                  </a:cubicBezTo>
                  <a:cubicBezTo>
                    <a:pt x="183653" y="7759"/>
                    <a:pt x="183653" y="7120"/>
                    <a:pt x="183653" y="7120"/>
                  </a:cubicBezTo>
                  <a:cubicBezTo>
                    <a:pt x="183653" y="6482"/>
                    <a:pt x="183014" y="5843"/>
                    <a:pt x="183014" y="5205"/>
                  </a:cubicBezTo>
                  <a:cubicBezTo>
                    <a:pt x="183014" y="5205"/>
                    <a:pt x="183014" y="5205"/>
                    <a:pt x="183014" y="4567"/>
                  </a:cubicBezTo>
                  <a:cubicBezTo>
                    <a:pt x="183014" y="4567"/>
                    <a:pt x="183014" y="4567"/>
                    <a:pt x="183014" y="4567"/>
                  </a:cubicBezTo>
                  <a:cubicBezTo>
                    <a:pt x="183014" y="4567"/>
                    <a:pt x="183014" y="4567"/>
                    <a:pt x="183014" y="4567"/>
                  </a:cubicBezTo>
                  <a:cubicBezTo>
                    <a:pt x="182375" y="3928"/>
                    <a:pt x="181736" y="3290"/>
                    <a:pt x="181097" y="2651"/>
                  </a:cubicBezTo>
                  <a:cubicBezTo>
                    <a:pt x="181097" y="2651"/>
                    <a:pt x="180458" y="2651"/>
                    <a:pt x="180458" y="2651"/>
                  </a:cubicBezTo>
                  <a:cubicBezTo>
                    <a:pt x="179819" y="2013"/>
                    <a:pt x="179180" y="2013"/>
                    <a:pt x="178541" y="2013"/>
                  </a:cubicBezTo>
                  <a:cubicBezTo>
                    <a:pt x="178541" y="2013"/>
                    <a:pt x="178541" y="2013"/>
                    <a:pt x="178541" y="2013"/>
                  </a:cubicBezTo>
                  <a:lnTo>
                    <a:pt x="163205" y="98"/>
                  </a:lnTo>
                  <a:cubicBezTo>
                    <a:pt x="160010" y="-541"/>
                    <a:pt x="156815" y="2013"/>
                    <a:pt x="156176" y="5843"/>
                  </a:cubicBezTo>
                  <a:cubicBezTo>
                    <a:pt x="155537" y="8397"/>
                    <a:pt x="157454" y="10951"/>
                    <a:pt x="160010" y="12227"/>
                  </a:cubicBezTo>
                  <a:lnTo>
                    <a:pt x="109530" y="44786"/>
                  </a:lnTo>
                  <a:lnTo>
                    <a:pt x="88443" y="26911"/>
                  </a:lnTo>
                  <a:cubicBezTo>
                    <a:pt x="86526" y="24995"/>
                    <a:pt x="83331" y="24995"/>
                    <a:pt x="81414" y="26272"/>
                  </a:cubicBezTo>
                  <a:lnTo>
                    <a:pt x="3457" y="67768"/>
                  </a:lnTo>
                  <a:cubicBezTo>
                    <a:pt x="262" y="69683"/>
                    <a:pt x="-1016" y="73514"/>
                    <a:pt x="901" y="76706"/>
                  </a:cubicBezTo>
                  <a:cubicBezTo>
                    <a:pt x="2179" y="78621"/>
                    <a:pt x="4096" y="79898"/>
                    <a:pt x="6652" y="79898"/>
                  </a:cubicBezTo>
                  <a:close/>
                </a:path>
              </a:pathLst>
            </a:custGeom>
            <a:grpFill/>
            <a:ln w="6390" cap="flat">
              <a:noFill/>
              <a:prstDash val="solid"/>
              <a:miter/>
            </a:ln>
          </p:spPr>
          <p:txBody>
            <a:bodyPr rtlCol="0" anchor="ctr"/>
            <a:lstStyle/>
            <a:p>
              <a:endParaRPr lang="en-US"/>
            </a:p>
          </p:txBody>
        </p:sp>
        <p:sp>
          <p:nvSpPr>
            <p:cNvPr id="802" name="Graphic 4">
              <a:extLst>
                <a:ext uri="{FF2B5EF4-FFF2-40B4-BE49-F238E27FC236}">
                  <a16:creationId xmlns:a16="http://schemas.microsoft.com/office/drawing/2014/main" id="{8B9BD1A1-B5B1-1EAF-2810-76219BA96FE8}"/>
                </a:ext>
              </a:extLst>
            </p:cNvPr>
            <p:cNvSpPr/>
            <p:nvPr/>
          </p:nvSpPr>
          <p:spPr>
            <a:xfrm>
              <a:off x="4750279" y="4015048"/>
              <a:ext cx="28115" cy="33196"/>
            </a:xfrm>
            <a:custGeom>
              <a:avLst/>
              <a:gdLst>
                <a:gd name="connsiteX0" fmla="*/ 21726 w 28115"/>
                <a:gd name="connsiteY0" fmla="*/ 0 h 33196"/>
                <a:gd name="connsiteX1" fmla="*/ 6390 w 28115"/>
                <a:gd name="connsiteY1" fmla="*/ 0 h 33196"/>
                <a:gd name="connsiteX2" fmla="*/ 0 w 28115"/>
                <a:gd name="connsiteY2" fmla="*/ 6384 h 33196"/>
                <a:gd name="connsiteX3" fmla="*/ 0 w 28115"/>
                <a:gd name="connsiteY3" fmla="*/ 26813 h 33196"/>
                <a:gd name="connsiteX4" fmla="*/ 6390 w 28115"/>
                <a:gd name="connsiteY4" fmla="*/ 33197 h 33196"/>
                <a:gd name="connsiteX5" fmla="*/ 21726 w 28115"/>
                <a:gd name="connsiteY5" fmla="*/ 33197 h 33196"/>
                <a:gd name="connsiteX6" fmla="*/ 28115 w 28115"/>
                <a:gd name="connsiteY6" fmla="*/ 26813 h 33196"/>
                <a:gd name="connsiteX7" fmla="*/ 28115 w 28115"/>
                <a:gd name="connsiteY7" fmla="*/ 6384 h 33196"/>
                <a:gd name="connsiteX8" fmla="*/ 21726 w 28115"/>
                <a:gd name="connsiteY8" fmla="*/ 0 h 33196"/>
                <a:gd name="connsiteX9" fmla="*/ 15336 w 28115"/>
                <a:gd name="connsiteY9" fmla="*/ 21067 h 33196"/>
                <a:gd name="connsiteX10" fmla="*/ 12780 w 28115"/>
                <a:gd name="connsiteY10" fmla="*/ 21067 h 33196"/>
                <a:gd name="connsiteX11" fmla="*/ 12780 w 28115"/>
                <a:gd name="connsiteY11" fmla="*/ 13407 h 33196"/>
                <a:gd name="connsiteX12" fmla="*/ 15336 w 28115"/>
                <a:gd name="connsiteY12" fmla="*/ 13407 h 33196"/>
                <a:gd name="connsiteX13" fmla="*/ 15336 w 28115"/>
                <a:gd name="connsiteY13" fmla="*/ 21067 h 3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15" h="33196">
                  <a:moveTo>
                    <a:pt x="21726" y="0"/>
                  </a:moveTo>
                  <a:lnTo>
                    <a:pt x="6390" y="0"/>
                  </a:lnTo>
                  <a:cubicBezTo>
                    <a:pt x="2556" y="0"/>
                    <a:pt x="0" y="2554"/>
                    <a:pt x="0" y="6384"/>
                  </a:cubicBezTo>
                  <a:lnTo>
                    <a:pt x="0" y="26813"/>
                  </a:lnTo>
                  <a:cubicBezTo>
                    <a:pt x="0" y="30643"/>
                    <a:pt x="2556" y="33197"/>
                    <a:pt x="6390" y="33197"/>
                  </a:cubicBezTo>
                  <a:lnTo>
                    <a:pt x="21726" y="33197"/>
                  </a:lnTo>
                  <a:cubicBezTo>
                    <a:pt x="25560" y="33197"/>
                    <a:pt x="28115" y="30643"/>
                    <a:pt x="28115" y="26813"/>
                  </a:cubicBezTo>
                  <a:lnTo>
                    <a:pt x="28115" y="6384"/>
                  </a:lnTo>
                  <a:cubicBezTo>
                    <a:pt x="28115" y="3192"/>
                    <a:pt x="24921" y="0"/>
                    <a:pt x="21726" y="0"/>
                  </a:cubicBezTo>
                  <a:close/>
                  <a:moveTo>
                    <a:pt x="15336" y="21067"/>
                  </a:moveTo>
                  <a:lnTo>
                    <a:pt x="12780" y="21067"/>
                  </a:lnTo>
                  <a:lnTo>
                    <a:pt x="12780" y="13407"/>
                  </a:lnTo>
                  <a:lnTo>
                    <a:pt x="15336" y="13407"/>
                  </a:lnTo>
                  <a:lnTo>
                    <a:pt x="15336" y="21067"/>
                  </a:lnTo>
                  <a:close/>
                </a:path>
              </a:pathLst>
            </a:custGeom>
            <a:grpFill/>
            <a:ln w="6390" cap="flat">
              <a:noFill/>
              <a:prstDash val="solid"/>
              <a:miter/>
            </a:ln>
          </p:spPr>
          <p:txBody>
            <a:bodyPr rtlCol="0" anchor="ctr"/>
            <a:lstStyle/>
            <a:p>
              <a:endParaRPr lang="en-US"/>
            </a:p>
          </p:txBody>
        </p:sp>
        <p:sp>
          <p:nvSpPr>
            <p:cNvPr id="803" name="Graphic 4">
              <a:extLst>
                <a:ext uri="{FF2B5EF4-FFF2-40B4-BE49-F238E27FC236}">
                  <a16:creationId xmlns:a16="http://schemas.microsoft.com/office/drawing/2014/main" id="{ACFB4CA9-670D-3948-8F4B-2724CE44BACD}"/>
                </a:ext>
              </a:extLst>
            </p:cNvPr>
            <p:cNvSpPr/>
            <p:nvPr/>
          </p:nvSpPr>
          <p:spPr>
            <a:xfrm>
              <a:off x="4781589" y="3998450"/>
              <a:ext cx="28115" cy="49794"/>
            </a:xfrm>
            <a:custGeom>
              <a:avLst/>
              <a:gdLst>
                <a:gd name="connsiteX0" fmla="*/ 21726 w 28115"/>
                <a:gd name="connsiteY0" fmla="*/ 0 h 49794"/>
                <a:gd name="connsiteX1" fmla="*/ 6390 w 28115"/>
                <a:gd name="connsiteY1" fmla="*/ 0 h 49794"/>
                <a:gd name="connsiteX2" fmla="*/ 0 w 28115"/>
                <a:gd name="connsiteY2" fmla="*/ 6384 h 49794"/>
                <a:gd name="connsiteX3" fmla="*/ 0 w 28115"/>
                <a:gd name="connsiteY3" fmla="*/ 43411 h 49794"/>
                <a:gd name="connsiteX4" fmla="*/ 6390 w 28115"/>
                <a:gd name="connsiteY4" fmla="*/ 49795 h 49794"/>
                <a:gd name="connsiteX5" fmla="*/ 21726 w 28115"/>
                <a:gd name="connsiteY5" fmla="*/ 49795 h 49794"/>
                <a:gd name="connsiteX6" fmla="*/ 28116 w 28115"/>
                <a:gd name="connsiteY6" fmla="*/ 43411 h 49794"/>
                <a:gd name="connsiteX7" fmla="*/ 28116 w 28115"/>
                <a:gd name="connsiteY7" fmla="*/ 6384 h 49794"/>
                <a:gd name="connsiteX8" fmla="*/ 21726 w 28115"/>
                <a:gd name="connsiteY8" fmla="*/ 0 h 49794"/>
                <a:gd name="connsiteX9" fmla="*/ 15336 w 28115"/>
                <a:gd name="connsiteY9" fmla="*/ 37665 h 49794"/>
                <a:gd name="connsiteX10" fmla="*/ 12780 w 28115"/>
                <a:gd name="connsiteY10" fmla="*/ 37665 h 49794"/>
                <a:gd name="connsiteX11" fmla="*/ 12780 w 28115"/>
                <a:gd name="connsiteY11" fmla="*/ 13406 h 49794"/>
                <a:gd name="connsiteX12" fmla="*/ 15336 w 28115"/>
                <a:gd name="connsiteY12" fmla="*/ 13406 h 49794"/>
                <a:gd name="connsiteX13" fmla="*/ 15336 w 28115"/>
                <a:gd name="connsiteY13" fmla="*/ 37665 h 49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15" h="49794">
                  <a:moveTo>
                    <a:pt x="21726" y="0"/>
                  </a:moveTo>
                  <a:lnTo>
                    <a:pt x="6390" y="0"/>
                  </a:lnTo>
                  <a:cubicBezTo>
                    <a:pt x="2556" y="0"/>
                    <a:pt x="0" y="2553"/>
                    <a:pt x="0" y="6384"/>
                  </a:cubicBezTo>
                  <a:lnTo>
                    <a:pt x="0" y="43411"/>
                  </a:lnTo>
                  <a:cubicBezTo>
                    <a:pt x="0" y="47241"/>
                    <a:pt x="2556" y="49795"/>
                    <a:pt x="6390" y="49795"/>
                  </a:cubicBezTo>
                  <a:lnTo>
                    <a:pt x="21726" y="49795"/>
                  </a:lnTo>
                  <a:cubicBezTo>
                    <a:pt x="25560" y="49795"/>
                    <a:pt x="28116" y="47241"/>
                    <a:pt x="28116" y="43411"/>
                  </a:cubicBezTo>
                  <a:lnTo>
                    <a:pt x="28116" y="6384"/>
                  </a:lnTo>
                  <a:cubicBezTo>
                    <a:pt x="28116" y="3192"/>
                    <a:pt x="24921" y="0"/>
                    <a:pt x="21726" y="0"/>
                  </a:cubicBezTo>
                  <a:close/>
                  <a:moveTo>
                    <a:pt x="15336" y="37665"/>
                  </a:moveTo>
                  <a:lnTo>
                    <a:pt x="12780" y="37665"/>
                  </a:lnTo>
                  <a:lnTo>
                    <a:pt x="12780" y="13406"/>
                  </a:lnTo>
                  <a:lnTo>
                    <a:pt x="15336" y="13406"/>
                  </a:lnTo>
                  <a:lnTo>
                    <a:pt x="15336" y="37665"/>
                  </a:lnTo>
                  <a:close/>
                </a:path>
              </a:pathLst>
            </a:custGeom>
            <a:grpFill/>
            <a:ln w="6390" cap="flat">
              <a:noFill/>
              <a:prstDash val="solid"/>
              <a:miter/>
            </a:ln>
          </p:spPr>
          <p:txBody>
            <a:bodyPr rtlCol="0" anchor="ctr"/>
            <a:lstStyle/>
            <a:p>
              <a:endParaRPr lang="en-US"/>
            </a:p>
          </p:txBody>
        </p:sp>
        <p:sp>
          <p:nvSpPr>
            <p:cNvPr id="804" name="Graphic 4">
              <a:extLst>
                <a:ext uri="{FF2B5EF4-FFF2-40B4-BE49-F238E27FC236}">
                  <a16:creationId xmlns:a16="http://schemas.microsoft.com/office/drawing/2014/main" id="{BDD3B7B0-1163-2175-3AB9-A6D22FB37624}"/>
                </a:ext>
              </a:extLst>
            </p:cNvPr>
            <p:cNvSpPr/>
            <p:nvPr/>
          </p:nvSpPr>
          <p:spPr>
            <a:xfrm>
              <a:off x="4812900" y="3981852"/>
              <a:ext cx="28115" cy="67031"/>
            </a:xfrm>
            <a:custGeom>
              <a:avLst/>
              <a:gdLst>
                <a:gd name="connsiteX0" fmla="*/ 21726 w 28115"/>
                <a:gd name="connsiteY0" fmla="*/ 0 h 67031"/>
                <a:gd name="connsiteX1" fmla="*/ 6390 w 28115"/>
                <a:gd name="connsiteY1" fmla="*/ 0 h 67031"/>
                <a:gd name="connsiteX2" fmla="*/ 0 w 28115"/>
                <a:gd name="connsiteY2" fmla="*/ 6384 h 67031"/>
                <a:gd name="connsiteX3" fmla="*/ 0 w 28115"/>
                <a:gd name="connsiteY3" fmla="*/ 60648 h 67031"/>
                <a:gd name="connsiteX4" fmla="*/ 6390 w 28115"/>
                <a:gd name="connsiteY4" fmla="*/ 67032 h 67031"/>
                <a:gd name="connsiteX5" fmla="*/ 21726 w 28115"/>
                <a:gd name="connsiteY5" fmla="*/ 67032 h 67031"/>
                <a:gd name="connsiteX6" fmla="*/ 28115 w 28115"/>
                <a:gd name="connsiteY6" fmla="*/ 60648 h 67031"/>
                <a:gd name="connsiteX7" fmla="*/ 28115 w 28115"/>
                <a:gd name="connsiteY7" fmla="*/ 6384 h 67031"/>
                <a:gd name="connsiteX8" fmla="*/ 21726 w 28115"/>
                <a:gd name="connsiteY8" fmla="*/ 0 h 67031"/>
                <a:gd name="connsiteX9" fmla="*/ 15336 w 28115"/>
                <a:gd name="connsiteY9" fmla="*/ 54264 h 67031"/>
                <a:gd name="connsiteX10" fmla="*/ 12780 w 28115"/>
                <a:gd name="connsiteY10" fmla="*/ 54264 h 67031"/>
                <a:gd name="connsiteX11" fmla="*/ 12780 w 28115"/>
                <a:gd name="connsiteY11" fmla="*/ 12768 h 67031"/>
                <a:gd name="connsiteX12" fmla="*/ 15336 w 28115"/>
                <a:gd name="connsiteY12" fmla="*/ 12768 h 67031"/>
                <a:gd name="connsiteX13" fmla="*/ 15336 w 28115"/>
                <a:gd name="connsiteY13" fmla="*/ 54264 h 6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15" h="67031">
                  <a:moveTo>
                    <a:pt x="21726" y="0"/>
                  </a:moveTo>
                  <a:lnTo>
                    <a:pt x="6390" y="0"/>
                  </a:lnTo>
                  <a:cubicBezTo>
                    <a:pt x="2556" y="0"/>
                    <a:pt x="0" y="2554"/>
                    <a:pt x="0" y="6384"/>
                  </a:cubicBezTo>
                  <a:lnTo>
                    <a:pt x="0" y="60648"/>
                  </a:lnTo>
                  <a:cubicBezTo>
                    <a:pt x="0" y="64478"/>
                    <a:pt x="2556" y="67032"/>
                    <a:pt x="6390" y="67032"/>
                  </a:cubicBezTo>
                  <a:lnTo>
                    <a:pt x="21726" y="67032"/>
                  </a:lnTo>
                  <a:cubicBezTo>
                    <a:pt x="25560" y="67032"/>
                    <a:pt x="28115" y="64478"/>
                    <a:pt x="28115" y="60648"/>
                  </a:cubicBezTo>
                  <a:lnTo>
                    <a:pt x="28115" y="6384"/>
                  </a:lnTo>
                  <a:cubicBezTo>
                    <a:pt x="28115" y="2554"/>
                    <a:pt x="24921" y="0"/>
                    <a:pt x="21726" y="0"/>
                  </a:cubicBezTo>
                  <a:close/>
                  <a:moveTo>
                    <a:pt x="15336" y="54264"/>
                  </a:moveTo>
                  <a:lnTo>
                    <a:pt x="12780" y="54264"/>
                  </a:lnTo>
                  <a:lnTo>
                    <a:pt x="12780" y="12768"/>
                  </a:lnTo>
                  <a:lnTo>
                    <a:pt x="15336" y="12768"/>
                  </a:lnTo>
                  <a:lnTo>
                    <a:pt x="15336" y="54264"/>
                  </a:lnTo>
                  <a:close/>
                </a:path>
              </a:pathLst>
            </a:custGeom>
            <a:grpFill/>
            <a:ln w="6390" cap="flat">
              <a:noFill/>
              <a:prstDash val="solid"/>
              <a:miter/>
            </a:ln>
          </p:spPr>
          <p:txBody>
            <a:bodyPr rtlCol="0" anchor="ctr"/>
            <a:lstStyle/>
            <a:p>
              <a:endParaRPr lang="en-US"/>
            </a:p>
          </p:txBody>
        </p:sp>
        <p:sp>
          <p:nvSpPr>
            <p:cNvPr id="805" name="Graphic 4">
              <a:extLst>
                <a:ext uri="{FF2B5EF4-FFF2-40B4-BE49-F238E27FC236}">
                  <a16:creationId xmlns:a16="http://schemas.microsoft.com/office/drawing/2014/main" id="{82345871-EDA0-D5F4-93F4-92860075B415}"/>
                </a:ext>
              </a:extLst>
            </p:cNvPr>
            <p:cNvSpPr/>
            <p:nvPr/>
          </p:nvSpPr>
          <p:spPr>
            <a:xfrm>
              <a:off x="4843572" y="3993981"/>
              <a:ext cx="28115" cy="54263"/>
            </a:xfrm>
            <a:custGeom>
              <a:avLst/>
              <a:gdLst>
                <a:gd name="connsiteX0" fmla="*/ 21726 w 28115"/>
                <a:gd name="connsiteY0" fmla="*/ 0 h 54263"/>
                <a:gd name="connsiteX1" fmla="*/ 6390 w 28115"/>
                <a:gd name="connsiteY1" fmla="*/ 0 h 54263"/>
                <a:gd name="connsiteX2" fmla="*/ 0 w 28115"/>
                <a:gd name="connsiteY2" fmla="*/ 6384 h 54263"/>
                <a:gd name="connsiteX3" fmla="*/ 0 w 28115"/>
                <a:gd name="connsiteY3" fmla="*/ 47880 h 54263"/>
                <a:gd name="connsiteX4" fmla="*/ 6390 w 28115"/>
                <a:gd name="connsiteY4" fmla="*/ 54264 h 54263"/>
                <a:gd name="connsiteX5" fmla="*/ 21726 w 28115"/>
                <a:gd name="connsiteY5" fmla="*/ 54264 h 54263"/>
                <a:gd name="connsiteX6" fmla="*/ 28116 w 28115"/>
                <a:gd name="connsiteY6" fmla="*/ 47880 h 54263"/>
                <a:gd name="connsiteX7" fmla="*/ 28116 w 28115"/>
                <a:gd name="connsiteY7" fmla="*/ 6384 h 54263"/>
                <a:gd name="connsiteX8" fmla="*/ 21726 w 28115"/>
                <a:gd name="connsiteY8" fmla="*/ 0 h 54263"/>
                <a:gd name="connsiteX9" fmla="*/ 15336 w 28115"/>
                <a:gd name="connsiteY9" fmla="*/ 42134 h 54263"/>
                <a:gd name="connsiteX10" fmla="*/ 12780 w 28115"/>
                <a:gd name="connsiteY10" fmla="*/ 42134 h 54263"/>
                <a:gd name="connsiteX11" fmla="*/ 12780 w 28115"/>
                <a:gd name="connsiteY11" fmla="*/ 12768 h 54263"/>
                <a:gd name="connsiteX12" fmla="*/ 15336 w 28115"/>
                <a:gd name="connsiteY12" fmla="*/ 12768 h 54263"/>
                <a:gd name="connsiteX13" fmla="*/ 15336 w 28115"/>
                <a:gd name="connsiteY13" fmla="*/ 42134 h 54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15" h="54263">
                  <a:moveTo>
                    <a:pt x="21726" y="0"/>
                  </a:moveTo>
                  <a:lnTo>
                    <a:pt x="6390" y="0"/>
                  </a:lnTo>
                  <a:cubicBezTo>
                    <a:pt x="2556" y="0"/>
                    <a:pt x="0" y="2554"/>
                    <a:pt x="0" y="6384"/>
                  </a:cubicBezTo>
                  <a:lnTo>
                    <a:pt x="0" y="47880"/>
                  </a:lnTo>
                  <a:cubicBezTo>
                    <a:pt x="0" y="51710"/>
                    <a:pt x="2556" y="54264"/>
                    <a:pt x="6390" y="54264"/>
                  </a:cubicBezTo>
                  <a:lnTo>
                    <a:pt x="21726" y="54264"/>
                  </a:lnTo>
                  <a:cubicBezTo>
                    <a:pt x="25560" y="54264"/>
                    <a:pt x="28116" y="51710"/>
                    <a:pt x="28116" y="47880"/>
                  </a:cubicBezTo>
                  <a:lnTo>
                    <a:pt x="28116" y="6384"/>
                  </a:lnTo>
                  <a:cubicBezTo>
                    <a:pt x="28116" y="3192"/>
                    <a:pt x="25560" y="0"/>
                    <a:pt x="21726" y="0"/>
                  </a:cubicBezTo>
                  <a:close/>
                  <a:moveTo>
                    <a:pt x="15336" y="42134"/>
                  </a:moveTo>
                  <a:lnTo>
                    <a:pt x="12780" y="42134"/>
                  </a:lnTo>
                  <a:lnTo>
                    <a:pt x="12780" y="12768"/>
                  </a:lnTo>
                  <a:lnTo>
                    <a:pt x="15336" y="12768"/>
                  </a:lnTo>
                  <a:lnTo>
                    <a:pt x="15336" y="42134"/>
                  </a:lnTo>
                  <a:close/>
                </a:path>
              </a:pathLst>
            </a:custGeom>
            <a:grpFill/>
            <a:ln w="6390" cap="flat">
              <a:noFill/>
              <a:prstDash val="solid"/>
              <a:miter/>
            </a:ln>
          </p:spPr>
          <p:txBody>
            <a:bodyPr rtlCol="0" anchor="ctr"/>
            <a:lstStyle/>
            <a:p>
              <a:endParaRPr lang="en-US"/>
            </a:p>
          </p:txBody>
        </p:sp>
        <p:sp>
          <p:nvSpPr>
            <p:cNvPr id="806" name="Graphic 4">
              <a:extLst>
                <a:ext uri="{FF2B5EF4-FFF2-40B4-BE49-F238E27FC236}">
                  <a16:creationId xmlns:a16="http://schemas.microsoft.com/office/drawing/2014/main" id="{0399C78B-83D1-2229-38E7-4D52E3562C22}"/>
                </a:ext>
              </a:extLst>
            </p:cNvPr>
            <p:cNvSpPr/>
            <p:nvPr/>
          </p:nvSpPr>
          <p:spPr>
            <a:xfrm>
              <a:off x="4875522" y="3979937"/>
              <a:ext cx="28115" cy="68308"/>
            </a:xfrm>
            <a:custGeom>
              <a:avLst/>
              <a:gdLst>
                <a:gd name="connsiteX0" fmla="*/ 21087 w 28115"/>
                <a:gd name="connsiteY0" fmla="*/ 0 h 68308"/>
                <a:gd name="connsiteX1" fmla="*/ 6390 w 28115"/>
                <a:gd name="connsiteY1" fmla="*/ 0 h 68308"/>
                <a:gd name="connsiteX2" fmla="*/ 0 w 28115"/>
                <a:gd name="connsiteY2" fmla="*/ 6384 h 68308"/>
                <a:gd name="connsiteX3" fmla="*/ 0 w 28115"/>
                <a:gd name="connsiteY3" fmla="*/ 61925 h 68308"/>
                <a:gd name="connsiteX4" fmla="*/ 6390 w 28115"/>
                <a:gd name="connsiteY4" fmla="*/ 68309 h 68308"/>
                <a:gd name="connsiteX5" fmla="*/ 21726 w 28115"/>
                <a:gd name="connsiteY5" fmla="*/ 68309 h 68308"/>
                <a:gd name="connsiteX6" fmla="*/ 28116 w 28115"/>
                <a:gd name="connsiteY6" fmla="*/ 61925 h 68308"/>
                <a:gd name="connsiteX7" fmla="*/ 28116 w 28115"/>
                <a:gd name="connsiteY7" fmla="*/ 6384 h 68308"/>
                <a:gd name="connsiteX8" fmla="*/ 21087 w 28115"/>
                <a:gd name="connsiteY8" fmla="*/ 0 h 68308"/>
                <a:gd name="connsiteX9" fmla="*/ 14697 w 28115"/>
                <a:gd name="connsiteY9" fmla="*/ 56179 h 68308"/>
                <a:gd name="connsiteX10" fmla="*/ 12780 w 28115"/>
                <a:gd name="connsiteY10" fmla="*/ 56179 h 68308"/>
                <a:gd name="connsiteX11" fmla="*/ 12780 w 28115"/>
                <a:gd name="connsiteY11" fmla="*/ 13407 h 68308"/>
                <a:gd name="connsiteX12" fmla="*/ 15336 w 28115"/>
                <a:gd name="connsiteY12" fmla="*/ 13407 h 68308"/>
                <a:gd name="connsiteX13" fmla="*/ 15336 w 28115"/>
                <a:gd name="connsiteY13" fmla="*/ 56179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15" h="68308">
                  <a:moveTo>
                    <a:pt x="21087" y="0"/>
                  </a:moveTo>
                  <a:lnTo>
                    <a:pt x="6390" y="0"/>
                  </a:lnTo>
                  <a:cubicBezTo>
                    <a:pt x="2556" y="0"/>
                    <a:pt x="0" y="2554"/>
                    <a:pt x="0" y="6384"/>
                  </a:cubicBezTo>
                  <a:lnTo>
                    <a:pt x="0" y="61925"/>
                  </a:lnTo>
                  <a:cubicBezTo>
                    <a:pt x="0" y="65755"/>
                    <a:pt x="2556" y="68309"/>
                    <a:pt x="6390" y="68309"/>
                  </a:cubicBezTo>
                  <a:lnTo>
                    <a:pt x="21726" y="68309"/>
                  </a:lnTo>
                  <a:cubicBezTo>
                    <a:pt x="25560" y="68309"/>
                    <a:pt x="28116" y="65755"/>
                    <a:pt x="28116" y="61925"/>
                  </a:cubicBezTo>
                  <a:lnTo>
                    <a:pt x="28116" y="6384"/>
                  </a:lnTo>
                  <a:cubicBezTo>
                    <a:pt x="27477" y="3192"/>
                    <a:pt x="24921" y="0"/>
                    <a:pt x="21087" y="0"/>
                  </a:cubicBezTo>
                  <a:close/>
                  <a:moveTo>
                    <a:pt x="14697" y="56179"/>
                  </a:moveTo>
                  <a:lnTo>
                    <a:pt x="12780" y="56179"/>
                  </a:lnTo>
                  <a:lnTo>
                    <a:pt x="12780" y="13407"/>
                  </a:lnTo>
                  <a:lnTo>
                    <a:pt x="15336" y="13407"/>
                  </a:lnTo>
                  <a:lnTo>
                    <a:pt x="15336" y="56179"/>
                  </a:lnTo>
                  <a:close/>
                </a:path>
              </a:pathLst>
            </a:custGeom>
            <a:grpFill/>
            <a:ln w="6390" cap="flat">
              <a:noFill/>
              <a:prstDash val="solid"/>
              <a:miter/>
            </a:ln>
          </p:spPr>
          <p:txBody>
            <a:bodyPr rtlCol="0" anchor="ctr"/>
            <a:lstStyle/>
            <a:p>
              <a:endParaRPr lang="en-US"/>
            </a:p>
          </p:txBody>
        </p:sp>
        <p:sp>
          <p:nvSpPr>
            <p:cNvPr id="807" name="Graphic 4">
              <a:extLst>
                <a:ext uri="{FF2B5EF4-FFF2-40B4-BE49-F238E27FC236}">
                  <a16:creationId xmlns:a16="http://schemas.microsoft.com/office/drawing/2014/main" id="{1D97EF35-426F-81B0-6C40-F8F2C1EB4837}"/>
                </a:ext>
              </a:extLst>
            </p:cNvPr>
            <p:cNvSpPr/>
            <p:nvPr/>
          </p:nvSpPr>
          <p:spPr>
            <a:xfrm>
              <a:off x="4906193" y="3960146"/>
              <a:ext cx="28115" cy="88737"/>
            </a:xfrm>
            <a:custGeom>
              <a:avLst/>
              <a:gdLst>
                <a:gd name="connsiteX0" fmla="*/ 21726 w 28115"/>
                <a:gd name="connsiteY0" fmla="*/ 0 h 88737"/>
                <a:gd name="connsiteX1" fmla="*/ 6390 w 28115"/>
                <a:gd name="connsiteY1" fmla="*/ 0 h 88737"/>
                <a:gd name="connsiteX2" fmla="*/ 0 w 28115"/>
                <a:gd name="connsiteY2" fmla="*/ 6384 h 88737"/>
                <a:gd name="connsiteX3" fmla="*/ 0 w 28115"/>
                <a:gd name="connsiteY3" fmla="*/ 82353 h 88737"/>
                <a:gd name="connsiteX4" fmla="*/ 6390 w 28115"/>
                <a:gd name="connsiteY4" fmla="*/ 88737 h 88737"/>
                <a:gd name="connsiteX5" fmla="*/ 21726 w 28115"/>
                <a:gd name="connsiteY5" fmla="*/ 88737 h 88737"/>
                <a:gd name="connsiteX6" fmla="*/ 28116 w 28115"/>
                <a:gd name="connsiteY6" fmla="*/ 82353 h 88737"/>
                <a:gd name="connsiteX7" fmla="*/ 28116 w 28115"/>
                <a:gd name="connsiteY7" fmla="*/ 6384 h 88737"/>
                <a:gd name="connsiteX8" fmla="*/ 21726 w 28115"/>
                <a:gd name="connsiteY8" fmla="*/ 0 h 88737"/>
                <a:gd name="connsiteX9" fmla="*/ 15336 w 28115"/>
                <a:gd name="connsiteY9" fmla="*/ 75969 h 88737"/>
                <a:gd name="connsiteX10" fmla="*/ 12780 w 28115"/>
                <a:gd name="connsiteY10" fmla="*/ 75969 h 88737"/>
                <a:gd name="connsiteX11" fmla="*/ 12780 w 28115"/>
                <a:gd name="connsiteY11" fmla="*/ 12768 h 88737"/>
                <a:gd name="connsiteX12" fmla="*/ 15336 w 28115"/>
                <a:gd name="connsiteY12" fmla="*/ 12768 h 88737"/>
                <a:gd name="connsiteX13" fmla="*/ 15336 w 28115"/>
                <a:gd name="connsiteY13" fmla="*/ 75969 h 88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115" h="88737">
                  <a:moveTo>
                    <a:pt x="21726" y="0"/>
                  </a:moveTo>
                  <a:lnTo>
                    <a:pt x="6390" y="0"/>
                  </a:lnTo>
                  <a:cubicBezTo>
                    <a:pt x="2556" y="0"/>
                    <a:pt x="0" y="2553"/>
                    <a:pt x="0" y="6384"/>
                  </a:cubicBezTo>
                  <a:lnTo>
                    <a:pt x="0" y="82353"/>
                  </a:lnTo>
                  <a:cubicBezTo>
                    <a:pt x="0" y="86184"/>
                    <a:pt x="2556" y="88737"/>
                    <a:pt x="6390" y="88737"/>
                  </a:cubicBezTo>
                  <a:lnTo>
                    <a:pt x="21726" y="88737"/>
                  </a:lnTo>
                  <a:cubicBezTo>
                    <a:pt x="25560" y="88737"/>
                    <a:pt x="28116" y="86184"/>
                    <a:pt x="28116" y="82353"/>
                  </a:cubicBezTo>
                  <a:lnTo>
                    <a:pt x="28116" y="6384"/>
                  </a:lnTo>
                  <a:cubicBezTo>
                    <a:pt x="28116" y="2553"/>
                    <a:pt x="25560" y="0"/>
                    <a:pt x="21726" y="0"/>
                  </a:cubicBezTo>
                  <a:close/>
                  <a:moveTo>
                    <a:pt x="15336" y="75969"/>
                  </a:moveTo>
                  <a:lnTo>
                    <a:pt x="12780" y="75969"/>
                  </a:lnTo>
                  <a:lnTo>
                    <a:pt x="12780" y="12768"/>
                  </a:lnTo>
                  <a:lnTo>
                    <a:pt x="15336" y="12768"/>
                  </a:lnTo>
                  <a:lnTo>
                    <a:pt x="15336" y="75969"/>
                  </a:lnTo>
                  <a:close/>
                </a:path>
              </a:pathLst>
            </a:custGeom>
            <a:grpFill/>
            <a:ln w="6390" cap="flat">
              <a:noFill/>
              <a:prstDash val="solid"/>
              <a:miter/>
            </a:ln>
          </p:spPr>
          <p:txBody>
            <a:bodyPr rtlCol="0" anchor="ctr"/>
            <a:lstStyle/>
            <a:p>
              <a:endParaRPr lang="en-US"/>
            </a:p>
          </p:txBody>
        </p:sp>
      </p:grpSp>
      <p:grpSp>
        <p:nvGrpSpPr>
          <p:cNvPr id="820" name="Group 819">
            <a:extLst>
              <a:ext uri="{FF2B5EF4-FFF2-40B4-BE49-F238E27FC236}">
                <a16:creationId xmlns:a16="http://schemas.microsoft.com/office/drawing/2014/main" id="{3B5B1E72-006A-3945-A32A-9E633141A550}"/>
              </a:ext>
            </a:extLst>
          </p:cNvPr>
          <p:cNvGrpSpPr/>
          <p:nvPr/>
        </p:nvGrpSpPr>
        <p:grpSpPr>
          <a:xfrm>
            <a:off x="747317" y="5208895"/>
            <a:ext cx="819991" cy="764144"/>
            <a:chOff x="2940027" y="5652977"/>
            <a:chExt cx="1001609" cy="954479"/>
          </a:xfrm>
        </p:grpSpPr>
        <p:grpSp>
          <p:nvGrpSpPr>
            <p:cNvPr id="808" name="Graphic 1100">
              <a:extLst>
                <a:ext uri="{FF2B5EF4-FFF2-40B4-BE49-F238E27FC236}">
                  <a16:creationId xmlns:a16="http://schemas.microsoft.com/office/drawing/2014/main" id="{7570FCB7-9C49-DAB4-8A9F-A5EEFA767FFF}"/>
                </a:ext>
              </a:extLst>
            </p:cNvPr>
            <p:cNvGrpSpPr/>
            <p:nvPr/>
          </p:nvGrpSpPr>
          <p:grpSpPr>
            <a:xfrm>
              <a:off x="2940027" y="5652977"/>
              <a:ext cx="397428" cy="433055"/>
              <a:chOff x="2644794" y="4389313"/>
              <a:chExt cx="193615" cy="208756"/>
            </a:xfrm>
            <a:solidFill>
              <a:srgbClr val="009A44"/>
            </a:solidFill>
          </p:grpSpPr>
          <p:sp>
            <p:nvSpPr>
              <p:cNvPr id="810" name="Graphic 1100">
                <a:extLst>
                  <a:ext uri="{FF2B5EF4-FFF2-40B4-BE49-F238E27FC236}">
                    <a16:creationId xmlns:a16="http://schemas.microsoft.com/office/drawing/2014/main" id="{ED2E5B46-3C35-0BE6-ED21-D5FA5815BF3A}"/>
                  </a:ext>
                </a:extLst>
              </p:cNvPr>
              <p:cNvSpPr/>
              <p:nvPr/>
            </p:nvSpPr>
            <p:spPr>
              <a:xfrm>
                <a:off x="2644794" y="4389313"/>
                <a:ext cx="193615" cy="208756"/>
              </a:xfrm>
              <a:custGeom>
                <a:avLst/>
                <a:gdLst>
                  <a:gd name="connsiteX0" fmla="*/ 187225 w 193615"/>
                  <a:gd name="connsiteY0" fmla="*/ 0 h 208756"/>
                  <a:gd name="connsiteX1" fmla="*/ 6390 w 193615"/>
                  <a:gd name="connsiteY1" fmla="*/ 0 h 208756"/>
                  <a:gd name="connsiteX2" fmla="*/ 0 w 193615"/>
                  <a:gd name="connsiteY2" fmla="*/ 6384 h 208756"/>
                  <a:gd name="connsiteX3" fmla="*/ 0 w 193615"/>
                  <a:gd name="connsiteY3" fmla="*/ 142363 h 208756"/>
                  <a:gd name="connsiteX4" fmla="*/ 6390 w 193615"/>
                  <a:gd name="connsiteY4" fmla="*/ 148747 h 208756"/>
                  <a:gd name="connsiteX5" fmla="*/ 15336 w 193615"/>
                  <a:gd name="connsiteY5" fmla="*/ 148747 h 208756"/>
                  <a:gd name="connsiteX6" fmla="*/ 15336 w 193615"/>
                  <a:gd name="connsiteY6" fmla="*/ 202372 h 208756"/>
                  <a:gd name="connsiteX7" fmla="*/ 21726 w 193615"/>
                  <a:gd name="connsiteY7" fmla="*/ 208756 h 208756"/>
                  <a:gd name="connsiteX8" fmla="*/ 171889 w 193615"/>
                  <a:gd name="connsiteY8" fmla="*/ 208756 h 208756"/>
                  <a:gd name="connsiteX9" fmla="*/ 178279 w 193615"/>
                  <a:gd name="connsiteY9" fmla="*/ 202372 h 208756"/>
                  <a:gd name="connsiteX10" fmla="*/ 178279 w 193615"/>
                  <a:gd name="connsiteY10" fmla="*/ 148747 h 208756"/>
                  <a:gd name="connsiteX11" fmla="*/ 187225 w 193615"/>
                  <a:gd name="connsiteY11" fmla="*/ 148747 h 208756"/>
                  <a:gd name="connsiteX12" fmla="*/ 193615 w 193615"/>
                  <a:gd name="connsiteY12" fmla="*/ 142363 h 208756"/>
                  <a:gd name="connsiteX13" fmla="*/ 193615 w 193615"/>
                  <a:gd name="connsiteY13" fmla="*/ 6384 h 208756"/>
                  <a:gd name="connsiteX14" fmla="*/ 187225 w 193615"/>
                  <a:gd name="connsiteY14" fmla="*/ 0 h 208756"/>
                  <a:gd name="connsiteX15" fmla="*/ 187225 w 193615"/>
                  <a:gd name="connsiteY15" fmla="*/ 0 h 208756"/>
                  <a:gd name="connsiteX16" fmla="*/ 165499 w 193615"/>
                  <a:gd name="connsiteY16" fmla="*/ 195988 h 208756"/>
                  <a:gd name="connsiteX17" fmla="*/ 28116 w 193615"/>
                  <a:gd name="connsiteY17" fmla="*/ 195988 h 208756"/>
                  <a:gd name="connsiteX18" fmla="*/ 28116 w 193615"/>
                  <a:gd name="connsiteY18" fmla="*/ 148747 h 208756"/>
                  <a:gd name="connsiteX19" fmla="*/ 165499 w 193615"/>
                  <a:gd name="connsiteY19" fmla="*/ 148747 h 208756"/>
                  <a:gd name="connsiteX20" fmla="*/ 165499 w 193615"/>
                  <a:gd name="connsiteY20" fmla="*/ 195988 h 208756"/>
                  <a:gd name="connsiteX21" fmla="*/ 180835 w 193615"/>
                  <a:gd name="connsiteY21" fmla="*/ 135979 h 208756"/>
                  <a:gd name="connsiteX22" fmla="*/ 12780 w 193615"/>
                  <a:gd name="connsiteY22" fmla="*/ 135979 h 208756"/>
                  <a:gd name="connsiteX23" fmla="*/ 12780 w 193615"/>
                  <a:gd name="connsiteY23" fmla="*/ 12768 h 208756"/>
                  <a:gd name="connsiteX24" fmla="*/ 180835 w 193615"/>
                  <a:gd name="connsiteY24" fmla="*/ 12768 h 208756"/>
                  <a:gd name="connsiteX25" fmla="*/ 180835 w 193615"/>
                  <a:gd name="connsiteY25" fmla="*/ 135979 h 208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93615" h="208756">
                    <a:moveTo>
                      <a:pt x="187225" y="0"/>
                    </a:moveTo>
                    <a:lnTo>
                      <a:pt x="6390" y="0"/>
                    </a:lnTo>
                    <a:cubicBezTo>
                      <a:pt x="2556" y="0"/>
                      <a:pt x="0" y="2554"/>
                      <a:pt x="0" y="6384"/>
                    </a:cubicBezTo>
                    <a:lnTo>
                      <a:pt x="0" y="142363"/>
                    </a:lnTo>
                    <a:cubicBezTo>
                      <a:pt x="0" y="146193"/>
                      <a:pt x="2556" y="148747"/>
                      <a:pt x="6390" y="148747"/>
                    </a:cubicBezTo>
                    <a:lnTo>
                      <a:pt x="15336" y="148747"/>
                    </a:lnTo>
                    <a:lnTo>
                      <a:pt x="15336" y="202372"/>
                    </a:lnTo>
                    <a:cubicBezTo>
                      <a:pt x="15336" y="206203"/>
                      <a:pt x="17892" y="208756"/>
                      <a:pt x="21726" y="208756"/>
                    </a:cubicBezTo>
                    <a:lnTo>
                      <a:pt x="171889" y="208756"/>
                    </a:lnTo>
                    <a:cubicBezTo>
                      <a:pt x="175723" y="208756"/>
                      <a:pt x="178279" y="206203"/>
                      <a:pt x="178279" y="202372"/>
                    </a:cubicBezTo>
                    <a:lnTo>
                      <a:pt x="178279" y="148747"/>
                    </a:lnTo>
                    <a:lnTo>
                      <a:pt x="187225" y="148747"/>
                    </a:lnTo>
                    <a:cubicBezTo>
                      <a:pt x="191059" y="148747"/>
                      <a:pt x="193615" y="146193"/>
                      <a:pt x="193615" y="142363"/>
                    </a:cubicBezTo>
                    <a:lnTo>
                      <a:pt x="193615" y="6384"/>
                    </a:lnTo>
                    <a:cubicBezTo>
                      <a:pt x="193615" y="2554"/>
                      <a:pt x="191059" y="0"/>
                      <a:pt x="187225" y="0"/>
                    </a:cubicBezTo>
                    <a:lnTo>
                      <a:pt x="187225" y="0"/>
                    </a:lnTo>
                    <a:close/>
                    <a:moveTo>
                      <a:pt x="165499" y="195988"/>
                    </a:moveTo>
                    <a:lnTo>
                      <a:pt x="28116" y="195988"/>
                    </a:lnTo>
                    <a:lnTo>
                      <a:pt x="28116" y="148747"/>
                    </a:lnTo>
                    <a:lnTo>
                      <a:pt x="165499" y="148747"/>
                    </a:lnTo>
                    <a:lnTo>
                      <a:pt x="165499" y="195988"/>
                    </a:lnTo>
                    <a:close/>
                    <a:moveTo>
                      <a:pt x="180835" y="135979"/>
                    </a:moveTo>
                    <a:lnTo>
                      <a:pt x="12780" y="135979"/>
                    </a:lnTo>
                    <a:lnTo>
                      <a:pt x="12780" y="12768"/>
                    </a:lnTo>
                    <a:lnTo>
                      <a:pt x="180835" y="12768"/>
                    </a:lnTo>
                    <a:lnTo>
                      <a:pt x="180835" y="135979"/>
                    </a:lnTo>
                    <a:close/>
                  </a:path>
                </a:pathLst>
              </a:custGeom>
              <a:grpFill/>
              <a:ln w="6390" cap="flat">
                <a:noFill/>
                <a:prstDash val="solid"/>
                <a:miter/>
              </a:ln>
            </p:spPr>
            <p:txBody>
              <a:bodyPr rtlCol="0" anchor="ctr"/>
              <a:lstStyle/>
              <a:p>
                <a:endParaRPr lang="en-US"/>
              </a:p>
            </p:txBody>
          </p:sp>
          <p:sp>
            <p:nvSpPr>
              <p:cNvPr id="811" name="Graphic 1100">
                <a:extLst>
                  <a:ext uri="{FF2B5EF4-FFF2-40B4-BE49-F238E27FC236}">
                    <a16:creationId xmlns:a16="http://schemas.microsoft.com/office/drawing/2014/main" id="{ECB02B52-DFA9-8F31-87D8-69E2641962AA}"/>
                  </a:ext>
                </a:extLst>
              </p:cNvPr>
              <p:cNvSpPr/>
              <p:nvPr/>
            </p:nvSpPr>
            <p:spPr>
              <a:xfrm>
                <a:off x="2674827" y="4419318"/>
                <a:ext cx="133549" cy="88098"/>
              </a:xfrm>
              <a:custGeom>
                <a:avLst/>
                <a:gdLst>
                  <a:gd name="connsiteX0" fmla="*/ 6390 w 133549"/>
                  <a:gd name="connsiteY0" fmla="*/ 88099 h 88098"/>
                  <a:gd name="connsiteX1" fmla="*/ 127160 w 133549"/>
                  <a:gd name="connsiteY1" fmla="*/ 88099 h 88098"/>
                  <a:gd name="connsiteX2" fmla="*/ 133550 w 133549"/>
                  <a:gd name="connsiteY2" fmla="*/ 81715 h 88098"/>
                  <a:gd name="connsiteX3" fmla="*/ 133550 w 133549"/>
                  <a:gd name="connsiteY3" fmla="*/ 6384 h 88098"/>
                  <a:gd name="connsiteX4" fmla="*/ 127160 w 133549"/>
                  <a:gd name="connsiteY4" fmla="*/ 0 h 88098"/>
                  <a:gd name="connsiteX5" fmla="*/ 6390 w 133549"/>
                  <a:gd name="connsiteY5" fmla="*/ 0 h 88098"/>
                  <a:gd name="connsiteX6" fmla="*/ 0 w 133549"/>
                  <a:gd name="connsiteY6" fmla="*/ 6384 h 88098"/>
                  <a:gd name="connsiteX7" fmla="*/ 0 w 133549"/>
                  <a:gd name="connsiteY7" fmla="*/ 81077 h 88098"/>
                  <a:gd name="connsiteX8" fmla="*/ 6390 w 133549"/>
                  <a:gd name="connsiteY8" fmla="*/ 88099 h 88098"/>
                  <a:gd name="connsiteX9" fmla="*/ 12780 w 133549"/>
                  <a:gd name="connsiteY9" fmla="*/ 12768 h 88098"/>
                  <a:gd name="connsiteX10" fmla="*/ 120770 w 133549"/>
                  <a:gd name="connsiteY10" fmla="*/ 12768 h 88098"/>
                  <a:gd name="connsiteX11" fmla="*/ 120770 w 133549"/>
                  <a:gd name="connsiteY11" fmla="*/ 74693 h 88098"/>
                  <a:gd name="connsiteX12" fmla="*/ 12780 w 133549"/>
                  <a:gd name="connsiteY12" fmla="*/ 74693 h 88098"/>
                  <a:gd name="connsiteX13" fmla="*/ 12780 w 133549"/>
                  <a:gd name="connsiteY13" fmla="*/ 12768 h 8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549" h="88098">
                    <a:moveTo>
                      <a:pt x="6390" y="88099"/>
                    </a:moveTo>
                    <a:lnTo>
                      <a:pt x="127160" y="88099"/>
                    </a:lnTo>
                    <a:cubicBezTo>
                      <a:pt x="130994" y="88099"/>
                      <a:pt x="133550" y="85546"/>
                      <a:pt x="133550" y="81715"/>
                    </a:cubicBezTo>
                    <a:lnTo>
                      <a:pt x="133550" y="6384"/>
                    </a:lnTo>
                    <a:cubicBezTo>
                      <a:pt x="133550" y="2554"/>
                      <a:pt x="130994" y="0"/>
                      <a:pt x="127160" y="0"/>
                    </a:cubicBezTo>
                    <a:lnTo>
                      <a:pt x="6390" y="0"/>
                    </a:lnTo>
                    <a:cubicBezTo>
                      <a:pt x="2556" y="0"/>
                      <a:pt x="0" y="2554"/>
                      <a:pt x="0" y="6384"/>
                    </a:cubicBezTo>
                    <a:lnTo>
                      <a:pt x="0" y="81077"/>
                    </a:lnTo>
                    <a:cubicBezTo>
                      <a:pt x="0" y="84907"/>
                      <a:pt x="2556" y="88099"/>
                      <a:pt x="6390" y="88099"/>
                    </a:cubicBezTo>
                    <a:close/>
                    <a:moveTo>
                      <a:pt x="12780" y="12768"/>
                    </a:moveTo>
                    <a:lnTo>
                      <a:pt x="120770" y="12768"/>
                    </a:lnTo>
                    <a:lnTo>
                      <a:pt x="120770" y="74693"/>
                    </a:lnTo>
                    <a:lnTo>
                      <a:pt x="12780" y="74693"/>
                    </a:lnTo>
                    <a:lnTo>
                      <a:pt x="12780" y="12768"/>
                    </a:lnTo>
                    <a:close/>
                  </a:path>
                </a:pathLst>
              </a:custGeom>
              <a:grpFill/>
              <a:ln w="6390" cap="flat">
                <a:noFill/>
                <a:prstDash val="solid"/>
                <a:miter/>
              </a:ln>
            </p:spPr>
            <p:txBody>
              <a:bodyPr rtlCol="0" anchor="ctr"/>
              <a:lstStyle/>
              <a:p>
                <a:endParaRPr lang="en-US"/>
              </a:p>
            </p:txBody>
          </p:sp>
          <p:sp>
            <p:nvSpPr>
              <p:cNvPr id="812" name="Graphic 1100">
                <a:extLst>
                  <a:ext uri="{FF2B5EF4-FFF2-40B4-BE49-F238E27FC236}">
                    <a16:creationId xmlns:a16="http://schemas.microsoft.com/office/drawing/2014/main" id="{32FD5628-1D09-21D8-C353-35DA17C01F7B}"/>
                  </a:ext>
                </a:extLst>
              </p:cNvPr>
              <p:cNvSpPr/>
              <p:nvPr/>
            </p:nvSpPr>
            <p:spPr>
              <a:xfrm>
                <a:off x="2780261" y="4554659"/>
                <a:ext cx="14057" cy="14044"/>
              </a:xfrm>
              <a:custGeom>
                <a:avLst/>
                <a:gdLst>
                  <a:gd name="connsiteX0" fmla="*/ 7029 w 14057"/>
                  <a:gd name="connsiteY0" fmla="*/ 14045 h 14044"/>
                  <a:gd name="connsiteX1" fmla="*/ 14058 w 14057"/>
                  <a:gd name="connsiteY1" fmla="*/ 7022 h 14044"/>
                  <a:gd name="connsiteX2" fmla="*/ 7029 w 14057"/>
                  <a:gd name="connsiteY2" fmla="*/ 0 h 14044"/>
                  <a:gd name="connsiteX3" fmla="*/ 0 w 14057"/>
                  <a:gd name="connsiteY3" fmla="*/ 7022 h 14044"/>
                  <a:gd name="connsiteX4" fmla="*/ 0 w 14057"/>
                  <a:gd name="connsiteY4" fmla="*/ 7022 h 14044"/>
                  <a:gd name="connsiteX5" fmla="*/ 7029 w 14057"/>
                  <a:gd name="connsiteY5" fmla="*/ 14045 h 14044"/>
                  <a:gd name="connsiteX6" fmla="*/ 7029 w 14057"/>
                  <a:gd name="connsiteY6" fmla="*/ 14045 h 14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57" h="14044">
                    <a:moveTo>
                      <a:pt x="7029" y="14045"/>
                    </a:moveTo>
                    <a:cubicBezTo>
                      <a:pt x="10863" y="14045"/>
                      <a:pt x="14058" y="10853"/>
                      <a:pt x="14058" y="7022"/>
                    </a:cubicBezTo>
                    <a:cubicBezTo>
                      <a:pt x="14058" y="3192"/>
                      <a:pt x="10863" y="0"/>
                      <a:pt x="7029" y="0"/>
                    </a:cubicBezTo>
                    <a:cubicBezTo>
                      <a:pt x="3195" y="0"/>
                      <a:pt x="0" y="3192"/>
                      <a:pt x="0" y="7022"/>
                    </a:cubicBezTo>
                    <a:cubicBezTo>
                      <a:pt x="0" y="7022"/>
                      <a:pt x="0" y="7022"/>
                      <a:pt x="0" y="7022"/>
                    </a:cubicBezTo>
                    <a:cubicBezTo>
                      <a:pt x="0" y="10853"/>
                      <a:pt x="3195" y="14045"/>
                      <a:pt x="7029" y="14045"/>
                    </a:cubicBezTo>
                    <a:cubicBezTo>
                      <a:pt x="7029" y="14045"/>
                      <a:pt x="7029" y="14045"/>
                      <a:pt x="7029" y="14045"/>
                    </a:cubicBezTo>
                    <a:close/>
                  </a:path>
                </a:pathLst>
              </a:custGeom>
              <a:grpFill/>
              <a:ln w="6390" cap="flat">
                <a:noFill/>
                <a:prstDash val="solid"/>
                <a:miter/>
              </a:ln>
            </p:spPr>
            <p:txBody>
              <a:bodyPr rtlCol="0" anchor="ctr"/>
              <a:lstStyle/>
              <a:p>
                <a:endParaRPr lang="en-US"/>
              </a:p>
            </p:txBody>
          </p:sp>
          <p:sp>
            <p:nvSpPr>
              <p:cNvPr id="813" name="Graphic 1100">
                <a:extLst>
                  <a:ext uri="{FF2B5EF4-FFF2-40B4-BE49-F238E27FC236}">
                    <a16:creationId xmlns:a16="http://schemas.microsoft.com/office/drawing/2014/main" id="{91FA5884-6C78-E181-82E4-C9FCBF2085FD}"/>
                  </a:ext>
                </a:extLst>
              </p:cNvPr>
              <p:cNvSpPr/>
              <p:nvPr/>
            </p:nvSpPr>
            <p:spPr>
              <a:xfrm>
                <a:off x="2686968" y="4555297"/>
                <a:ext cx="54314" cy="12767"/>
              </a:xfrm>
              <a:custGeom>
                <a:avLst/>
                <a:gdLst>
                  <a:gd name="connsiteX0" fmla="*/ 6390 w 54314"/>
                  <a:gd name="connsiteY0" fmla="*/ 12768 h 12767"/>
                  <a:gd name="connsiteX1" fmla="*/ 47925 w 54314"/>
                  <a:gd name="connsiteY1" fmla="*/ 12768 h 12767"/>
                  <a:gd name="connsiteX2" fmla="*/ 54314 w 54314"/>
                  <a:gd name="connsiteY2" fmla="*/ 6384 h 12767"/>
                  <a:gd name="connsiteX3" fmla="*/ 47925 w 54314"/>
                  <a:gd name="connsiteY3" fmla="*/ 0 h 12767"/>
                  <a:gd name="connsiteX4" fmla="*/ 6390 w 54314"/>
                  <a:gd name="connsiteY4" fmla="*/ 0 h 12767"/>
                  <a:gd name="connsiteX5" fmla="*/ 0 w 54314"/>
                  <a:gd name="connsiteY5" fmla="*/ 6384 h 12767"/>
                  <a:gd name="connsiteX6" fmla="*/ 6390 w 54314"/>
                  <a:gd name="connsiteY6"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14" h="12767">
                    <a:moveTo>
                      <a:pt x="6390" y="12768"/>
                    </a:moveTo>
                    <a:lnTo>
                      <a:pt x="47925" y="12768"/>
                    </a:lnTo>
                    <a:cubicBezTo>
                      <a:pt x="51759" y="12768"/>
                      <a:pt x="54314" y="10215"/>
                      <a:pt x="54314" y="6384"/>
                    </a:cubicBezTo>
                    <a:cubicBezTo>
                      <a:pt x="54314" y="2554"/>
                      <a:pt x="51759" y="0"/>
                      <a:pt x="47925" y="0"/>
                    </a:cubicBezTo>
                    <a:lnTo>
                      <a:pt x="6390" y="0"/>
                    </a:lnTo>
                    <a:cubicBezTo>
                      <a:pt x="2556" y="0"/>
                      <a:pt x="0" y="2554"/>
                      <a:pt x="0" y="6384"/>
                    </a:cubicBezTo>
                    <a:cubicBezTo>
                      <a:pt x="0" y="10215"/>
                      <a:pt x="2556" y="12768"/>
                      <a:pt x="6390" y="12768"/>
                    </a:cubicBezTo>
                    <a:close/>
                  </a:path>
                </a:pathLst>
              </a:custGeom>
              <a:grpFill/>
              <a:ln w="6390" cap="flat">
                <a:noFill/>
                <a:prstDash val="solid"/>
                <a:miter/>
              </a:ln>
            </p:spPr>
            <p:txBody>
              <a:bodyPr rtlCol="0" anchor="ctr"/>
              <a:lstStyle/>
              <a:p>
                <a:endParaRPr lang="en-US"/>
              </a:p>
            </p:txBody>
          </p:sp>
        </p:grpSp>
        <p:sp>
          <p:nvSpPr>
            <p:cNvPr id="816" name="Graphic 1100">
              <a:extLst>
                <a:ext uri="{FF2B5EF4-FFF2-40B4-BE49-F238E27FC236}">
                  <a16:creationId xmlns:a16="http://schemas.microsoft.com/office/drawing/2014/main" id="{9B2C46C9-934B-BD19-F1C2-419B0945393A}"/>
                </a:ext>
              </a:extLst>
            </p:cNvPr>
            <p:cNvSpPr/>
            <p:nvPr/>
          </p:nvSpPr>
          <p:spPr>
            <a:xfrm>
              <a:off x="3547288" y="6266818"/>
              <a:ext cx="394348" cy="340638"/>
            </a:xfrm>
            <a:custGeom>
              <a:avLst/>
              <a:gdLst>
                <a:gd name="connsiteX0" fmla="*/ 213424 w 219272"/>
                <a:gd name="connsiteY0" fmla="*/ 0 h 176836"/>
                <a:gd name="connsiteX1" fmla="*/ 6390 w 219272"/>
                <a:gd name="connsiteY1" fmla="*/ 0 h 176836"/>
                <a:gd name="connsiteX2" fmla="*/ 0 w 219272"/>
                <a:gd name="connsiteY2" fmla="*/ 6384 h 176836"/>
                <a:gd name="connsiteX3" fmla="*/ 0 w 219272"/>
                <a:gd name="connsiteY3" fmla="*/ 139809 h 176836"/>
                <a:gd name="connsiteX4" fmla="*/ 6390 w 219272"/>
                <a:gd name="connsiteY4" fmla="*/ 146193 h 176836"/>
                <a:gd name="connsiteX5" fmla="*/ 103517 w 219272"/>
                <a:gd name="connsiteY5" fmla="*/ 146193 h 176836"/>
                <a:gd name="connsiteX6" fmla="*/ 103517 w 219272"/>
                <a:gd name="connsiteY6" fmla="*/ 164068 h 176836"/>
                <a:gd name="connsiteX7" fmla="*/ 72206 w 219272"/>
                <a:gd name="connsiteY7" fmla="*/ 164068 h 176836"/>
                <a:gd name="connsiteX8" fmla="*/ 65816 w 219272"/>
                <a:gd name="connsiteY8" fmla="*/ 170452 h 176836"/>
                <a:gd name="connsiteX9" fmla="*/ 72206 w 219272"/>
                <a:gd name="connsiteY9" fmla="*/ 176836 h 176836"/>
                <a:gd name="connsiteX10" fmla="*/ 146969 w 219272"/>
                <a:gd name="connsiteY10" fmla="*/ 176836 h 176836"/>
                <a:gd name="connsiteX11" fmla="*/ 153358 w 219272"/>
                <a:gd name="connsiteY11" fmla="*/ 170452 h 176836"/>
                <a:gd name="connsiteX12" fmla="*/ 146969 w 219272"/>
                <a:gd name="connsiteY12" fmla="*/ 164068 h 176836"/>
                <a:gd name="connsiteX13" fmla="*/ 115658 w 219272"/>
                <a:gd name="connsiteY13" fmla="*/ 164068 h 176836"/>
                <a:gd name="connsiteX14" fmla="*/ 115658 w 219272"/>
                <a:gd name="connsiteY14" fmla="*/ 146193 h 176836"/>
                <a:gd name="connsiteX15" fmla="*/ 212785 w 219272"/>
                <a:gd name="connsiteY15" fmla="*/ 146193 h 176836"/>
                <a:gd name="connsiteX16" fmla="*/ 219175 w 219272"/>
                <a:gd name="connsiteY16" fmla="*/ 139809 h 176836"/>
                <a:gd name="connsiteX17" fmla="*/ 219175 w 219272"/>
                <a:gd name="connsiteY17" fmla="*/ 6384 h 176836"/>
                <a:gd name="connsiteX18" fmla="*/ 213424 w 219272"/>
                <a:gd name="connsiteY18" fmla="*/ 0 h 176836"/>
                <a:gd name="connsiteX19" fmla="*/ 207034 w 219272"/>
                <a:gd name="connsiteY19" fmla="*/ 133425 h 176836"/>
                <a:gd name="connsiteX20" fmla="*/ 12780 w 219272"/>
                <a:gd name="connsiteY20" fmla="*/ 133425 h 176836"/>
                <a:gd name="connsiteX21" fmla="*/ 12780 w 219272"/>
                <a:gd name="connsiteY21" fmla="*/ 12768 h 176836"/>
                <a:gd name="connsiteX22" fmla="*/ 207034 w 219272"/>
                <a:gd name="connsiteY22" fmla="*/ 12768 h 176836"/>
                <a:gd name="connsiteX23" fmla="*/ 207034 w 219272"/>
                <a:gd name="connsiteY23" fmla="*/ 133425 h 17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272" h="176836">
                  <a:moveTo>
                    <a:pt x="213424" y="0"/>
                  </a:moveTo>
                  <a:lnTo>
                    <a:pt x="6390" y="0"/>
                  </a:lnTo>
                  <a:cubicBezTo>
                    <a:pt x="2556" y="0"/>
                    <a:pt x="0" y="2554"/>
                    <a:pt x="0" y="6384"/>
                  </a:cubicBezTo>
                  <a:lnTo>
                    <a:pt x="0" y="139809"/>
                  </a:lnTo>
                  <a:cubicBezTo>
                    <a:pt x="0" y="143640"/>
                    <a:pt x="2556" y="146193"/>
                    <a:pt x="6390" y="146193"/>
                  </a:cubicBezTo>
                  <a:lnTo>
                    <a:pt x="103517" y="146193"/>
                  </a:lnTo>
                  <a:lnTo>
                    <a:pt x="103517" y="164068"/>
                  </a:lnTo>
                  <a:lnTo>
                    <a:pt x="72206" y="164068"/>
                  </a:lnTo>
                  <a:cubicBezTo>
                    <a:pt x="68372" y="164068"/>
                    <a:pt x="65816" y="166622"/>
                    <a:pt x="65816" y="170452"/>
                  </a:cubicBezTo>
                  <a:cubicBezTo>
                    <a:pt x="65816" y="174283"/>
                    <a:pt x="68372" y="176836"/>
                    <a:pt x="72206" y="176836"/>
                  </a:cubicBezTo>
                  <a:lnTo>
                    <a:pt x="146969" y="176836"/>
                  </a:lnTo>
                  <a:cubicBezTo>
                    <a:pt x="150803" y="176836"/>
                    <a:pt x="153358" y="174283"/>
                    <a:pt x="153358" y="170452"/>
                  </a:cubicBezTo>
                  <a:cubicBezTo>
                    <a:pt x="153358" y="166622"/>
                    <a:pt x="150803" y="164068"/>
                    <a:pt x="146969" y="164068"/>
                  </a:cubicBezTo>
                  <a:lnTo>
                    <a:pt x="115658" y="164068"/>
                  </a:lnTo>
                  <a:lnTo>
                    <a:pt x="115658" y="146193"/>
                  </a:lnTo>
                  <a:lnTo>
                    <a:pt x="212785" y="146193"/>
                  </a:lnTo>
                  <a:cubicBezTo>
                    <a:pt x="216619" y="146193"/>
                    <a:pt x="219175" y="143640"/>
                    <a:pt x="219175" y="139809"/>
                  </a:cubicBezTo>
                  <a:lnTo>
                    <a:pt x="219175" y="6384"/>
                  </a:lnTo>
                  <a:cubicBezTo>
                    <a:pt x="219814" y="2554"/>
                    <a:pt x="217258" y="0"/>
                    <a:pt x="213424" y="0"/>
                  </a:cubicBezTo>
                  <a:close/>
                  <a:moveTo>
                    <a:pt x="207034" y="133425"/>
                  </a:moveTo>
                  <a:lnTo>
                    <a:pt x="12780" y="133425"/>
                  </a:lnTo>
                  <a:lnTo>
                    <a:pt x="12780" y="12768"/>
                  </a:lnTo>
                  <a:lnTo>
                    <a:pt x="207034" y="12768"/>
                  </a:lnTo>
                  <a:lnTo>
                    <a:pt x="207034" y="133425"/>
                  </a:lnTo>
                  <a:close/>
                </a:path>
              </a:pathLst>
            </a:custGeom>
            <a:solidFill>
              <a:srgbClr val="20A75B"/>
            </a:solidFill>
            <a:ln w="6390" cap="flat">
              <a:noFill/>
              <a:prstDash val="solid"/>
              <a:miter/>
            </a:ln>
          </p:spPr>
          <p:txBody>
            <a:bodyPr rtlCol="0" anchor="ctr"/>
            <a:lstStyle/>
            <a:p>
              <a:endParaRPr lang="en-US"/>
            </a:p>
          </p:txBody>
        </p:sp>
        <p:sp>
          <p:nvSpPr>
            <p:cNvPr id="819" name="Graphic 4">
              <a:extLst>
                <a:ext uri="{FF2B5EF4-FFF2-40B4-BE49-F238E27FC236}">
                  <a16:creationId xmlns:a16="http://schemas.microsoft.com/office/drawing/2014/main" id="{B7BE45BD-D46B-6DF5-A377-77FB0BF9EC57}"/>
                </a:ext>
              </a:extLst>
            </p:cNvPr>
            <p:cNvSpPr/>
            <p:nvPr/>
          </p:nvSpPr>
          <p:spPr>
            <a:xfrm rot="19722028">
              <a:off x="3248247" y="6001773"/>
              <a:ext cx="370688" cy="376212"/>
            </a:xfrm>
            <a:custGeom>
              <a:avLst/>
              <a:gdLst>
                <a:gd name="connsiteX0" fmla="*/ 150000 w 164533"/>
                <a:gd name="connsiteY0" fmla="*/ 183402 h 226011"/>
                <a:gd name="connsiteX1" fmla="*/ 150000 w 164533"/>
                <a:gd name="connsiteY1" fmla="*/ 135522 h 226011"/>
                <a:gd name="connsiteX2" fmla="*/ 122523 w 164533"/>
                <a:gd name="connsiteY2" fmla="*/ 106156 h 226011"/>
                <a:gd name="connsiteX3" fmla="*/ 120606 w 164533"/>
                <a:gd name="connsiteY3" fmla="*/ 106156 h 226011"/>
                <a:gd name="connsiteX4" fmla="*/ 89296 w 164533"/>
                <a:gd name="connsiteY4" fmla="*/ 106156 h 226011"/>
                <a:gd name="connsiteX5" fmla="*/ 89296 w 164533"/>
                <a:gd name="connsiteY5" fmla="*/ 44231 h 226011"/>
                <a:gd name="connsiteX6" fmla="*/ 88657 w 164533"/>
                <a:gd name="connsiteY6" fmla="*/ 42316 h 226011"/>
                <a:gd name="connsiteX7" fmla="*/ 103354 w 164533"/>
                <a:gd name="connsiteY7" fmla="*/ 15503 h 226011"/>
                <a:gd name="connsiteX8" fmla="*/ 76516 w 164533"/>
                <a:gd name="connsiteY8" fmla="*/ 820 h 226011"/>
                <a:gd name="connsiteX9" fmla="*/ 61819 w 164533"/>
                <a:gd name="connsiteY9" fmla="*/ 27633 h 226011"/>
                <a:gd name="connsiteX10" fmla="*/ 76516 w 164533"/>
                <a:gd name="connsiteY10" fmla="*/ 42316 h 226011"/>
                <a:gd name="connsiteX11" fmla="*/ 75877 w 164533"/>
                <a:gd name="connsiteY11" fmla="*/ 44231 h 226011"/>
                <a:gd name="connsiteX12" fmla="*/ 75877 w 164533"/>
                <a:gd name="connsiteY12" fmla="*/ 106156 h 226011"/>
                <a:gd name="connsiteX13" fmla="*/ 44566 w 164533"/>
                <a:gd name="connsiteY13" fmla="*/ 106156 h 226011"/>
                <a:gd name="connsiteX14" fmla="*/ 27952 w 164533"/>
                <a:gd name="connsiteY14" fmla="*/ 91473 h 226011"/>
                <a:gd name="connsiteX15" fmla="*/ 27952 w 164533"/>
                <a:gd name="connsiteY15" fmla="*/ 90196 h 226011"/>
                <a:gd name="connsiteX16" fmla="*/ 27952 w 164533"/>
                <a:gd name="connsiteY16" fmla="*/ 42316 h 226011"/>
                <a:gd name="connsiteX17" fmla="*/ 42010 w 164533"/>
                <a:gd name="connsiteY17" fmla="*/ 15503 h 226011"/>
                <a:gd name="connsiteX18" fmla="*/ 15173 w 164533"/>
                <a:gd name="connsiteY18" fmla="*/ 1458 h 226011"/>
                <a:gd name="connsiteX19" fmla="*/ 1115 w 164533"/>
                <a:gd name="connsiteY19" fmla="*/ 28271 h 226011"/>
                <a:gd name="connsiteX20" fmla="*/ 15173 w 164533"/>
                <a:gd name="connsiteY20" fmla="*/ 42316 h 226011"/>
                <a:gd name="connsiteX21" fmla="*/ 15173 w 164533"/>
                <a:gd name="connsiteY21" fmla="*/ 90196 h 226011"/>
                <a:gd name="connsiteX22" fmla="*/ 42649 w 164533"/>
                <a:gd name="connsiteY22" fmla="*/ 119562 h 226011"/>
                <a:gd name="connsiteX23" fmla="*/ 44566 w 164533"/>
                <a:gd name="connsiteY23" fmla="*/ 119562 h 226011"/>
                <a:gd name="connsiteX24" fmla="*/ 75877 w 164533"/>
                <a:gd name="connsiteY24" fmla="*/ 119562 h 226011"/>
                <a:gd name="connsiteX25" fmla="*/ 75877 w 164533"/>
                <a:gd name="connsiteY25" fmla="*/ 183402 h 226011"/>
                <a:gd name="connsiteX26" fmla="*/ 61819 w 164533"/>
                <a:gd name="connsiteY26" fmla="*/ 210215 h 226011"/>
                <a:gd name="connsiteX27" fmla="*/ 88657 w 164533"/>
                <a:gd name="connsiteY27" fmla="*/ 224259 h 226011"/>
                <a:gd name="connsiteX28" fmla="*/ 102715 w 164533"/>
                <a:gd name="connsiteY28" fmla="*/ 197447 h 226011"/>
                <a:gd name="connsiteX29" fmla="*/ 88657 w 164533"/>
                <a:gd name="connsiteY29" fmla="*/ 183402 h 226011"/>
                <a:gd name="connsiteX30" fmla="*/ 88657 w 164533"/>
                <a:gd name="connsiteY30" fmla="*/ 119562 h 226011"/>
                <a:gd name="connsiteX31" fmla="*/ 119967 w 164533"/>
                <a:gd name="connsiteY31" fmla="*/ 119562 h 226011"/>
                <a:gd name="connsiteX32" fmla="*/ 136581 w 164533"/>
                <a:gd name="connsiteY32" fmla="*/ 134245 h 226011"/>
                <a:gd name="connsiteX33" fmla="*/ 136581 w 164533"/>
                <a:gd name="connsiteY33" fmla="*/ 136161 h 226011"/>
                <a:gd name="connsiteX34" fmla="*/ 136581 w 164533"/>
                <a:gd name="connsiteY34" fmla="*/ 184040 h 226011"/>
                <a:gd name="connsiteX35" fmla="*/ 122523 w 164533"/>
                <a:gd name="connsiteY35" fmla="*/ 210853 h 226011"/>
                <a:gd name="connsiteX36" fmla="*/ 149361 w 164533"/>
                <a:gd name="connsiteY36" fmla="*/ 224898 h 226011"/>
                <a:gd name="connsiteX37" fmla="*/ 163419 w 164533"/>
                <a:gd name="connsiteY37" fmla="*/ 198085 h 226011"/>
                <a:gd name="connsiteX38" fmla="*/ 150000 w 164533"/>
                <a:gd name="connsiteY38" fmla="*/ 183402 h 226011"/>
                <a:gd name="connsiteX39" fmla="*/ 150000 w 164533"/>
                <a:gd name="connsiteY39" fmla="*/ 183402 h 226011"/>
                <a:gd name="connsiteX40" fmla="*/ 22201 w 164533"/>
                <a:gd name="connsiteY40" fmla="*/ 13588 h 226011"/>
                <a:gd name="connsiteX41" fmla="*/ 31147 w 164533"/>
                <a:gd name="connsiteY41" fmla="*/ 22526 h 226011"/>
                <a:gd name="connsiteX42" fmla="*/ 22201 w 164533"/>
                <a:gd name="connsiteY42" fmla="*/ 31463 h 226011"/>
                <a:gd name="connsiteX43" fmla="*/ 13256 w 164533"/>
                <a:gd name="connsiteY43" fmla="*/ 22526 h 226011"/>
                <a:gd name="connsiteX44" fmla="*/ 13256 w 164533"/>
                <a:gd name="connsiteY44" fmla="*/ 22526 h 226011"/>
                <a:gd name="connsiteX45" fmla="*/ 22201 w 164533"/>
                <a:gd name="connsiteY45" fmla="*/ 13588 h 226011"/>
                <a:gd name="connsiteX46" fmla="*/ 73960 w 164533"/>
                <a:gd name="connsiteY46" fmla="*/ 22526 h 226011"/>
                <a:gd name="connsiteX47" fmla="*/ 82906 w 164533"/>
                <a:gd name="connsiteY47" fmla="*/ 13588 h 226011"/>
                <a:gd name="connsiteX48" fmla="*/ 91852 w 164533"/>
                <a:gd name="connsiteY48" fmla="*/ 22526 h 226011"/>
                <a:gd name="connsiteX49" fmla="*/ 82906 w 164533"/>
                <a:gd name="connsiteY49" fmla="*/ 31463 h 226011"/>
                <a:gd name="connsiteX50" fmla="*/ 82906 w 164533"/>
                <a:gd name="connsiteY50" fmla="*/ 31463 h 226011"/>
                <a:gd name="connsiteX51" fmla="*/ 73960 w 164533"/>
                <a:gd name="connsiteY51" fmla="*/ 22526 h 226011"/>
                <a:gd name="connsiteX52" fmla="*/ 73960 w 164533"/>
                <a:gd name="connsiteY52" fmla="*/ 22526 h 226011"/>
                <a:gd name="connsiteX53" fmla="*/ 82906 w 164533"/>
                <a:gd name="connsiteY53" fmla="*/ 212768 h 226011"/>
                <a:gd name="connsiteX54" fmla="*/ 73960 w 164533"/>
                <a:gd name="connsiteY54" fmla="*/ 203831 h 226011"/>
                <a:gd name="connsiteX55" fmla="*/ 82906 w 164533"/>
                <a:gd name="connsiteY55" fmla="*/ 194893 h 226011"/>
                <a:gd name="connsiteX56" fmla="*/ 91852 w 164533"/>
                <a:gd name="connsiteY56" fmla="*/ 203831 h 226011"/>
                <a:gd name="connsiteX57" fmla="*/ 91852 w 164533"/>
                <a:gd name="connsiteY57" fmla="*/ 203831 h 226011"/>
                <a:gd name="connsiteX58" fmla="*/ 82906 w 164533"/>
                <a:gd name="connsiteY58" fmla="*/ 212768 h 226011"/>
                <a:gd name="connsiteX59" fmla="*/ 82906 w 164533"/>
                <a:gd name="connsiteY59" fmla="*/ 212768 h 226011"/>
                <a:gd name="connsiteX60" fmla="*/ 143610 w 164533"/>
                <a:gd name="connsiteY60" fmla="*/ 212768 h 226011"/>
                <a:gd name="connsiteX61" fmla="*/ 134664 w 164533"/>
                <a:gd name="connsiteY61" fmla="*/ 203831 h 226011"/>
                <a:gd name="connsiteX62" fmla="*/ 143610 w 164533"/>
                <a:gd name="connsiteY62" fmla="*/ 194893 h 226011"/>
                <a:gd name="connsiteX63" fmla="*/ 152556 w 164533"/>
                <a:gd name="connsiteY63" fmla="*/ 203831 h 226011"/>
                <a:gd name="connsiteX64" fmla="*/ 152556 w 164533"/>
                <a:gd name="connsiteY64" fmla="*/ 203831 h 226011"/>
                <a:gd name="connsiteX65" fmla="*/ 143610 w 164533"/>
                <a:gd name="connsiteY65" fmla="*/ 212768 h 226011"/>
                <a:gd name="connsiteX66" fmla="*/ 143610 w 164533"/>
                <a:gd name="connsiteY66" fmla="*/ 212768 h 226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64533" h="226011">
                  <a:moveTo>
                    <a:pt x="150000" y="183402"/>
                  </a:moveTo>
                  <a:lnTo>
                    <a:pt x="150000" y="135522"/>
                  </a:lnTo>
                  <a:cubicBezTo>
                    <a:pt x="150639" y="120201"/>
                    <a:pt x="138498" y="106794"/>
                    <a:pt x="122523" y="106156"/>
                  </a:cubicBezTo>
                  <a:cubicBezTo>
                    <a:pt x="121884" y="106156"/>
                    <a:pt x="121245" y="106156"/>
                    <a:pt x="120606" y="106156"/>
                  </a:cubicBezTo>
                  <a:lnTo>
                    <a:pt x="89296" y="106156"/>
                  </a:lnTo>
                  <a:lnTo>
                    <a:pt x="89296" y="44231"/>
                  </a:lnTo>
                  <a:cubicBezTo>
                    <a:pt x="89296" y="43593"/>
                    <a:pt x="89296" y="42954"/>
                    <a:pt x="88657" y="42316"/>
                  </a:cubicBezTo>
                  <a:cubicBezTo>
                    <a:pt x="100159" y="39124"/>
                    <a:pt x="106549" y="26994"/>
                    <a:pt x="103354" y="15503"/>
                  </a:cubicBezTo>
                  <a:cubicBezTo>
                    <a:pt x="100159" y="4012"/>
                    <a:pt x="88018" y="-2372"/>
                    <a:pt x="76516" y="820"/>
                  </a:cubicBezTo>
                  <a:cubicBezTo>
                    <a:pt x="65014" y="4012"/>
                    <a:pt x="58624" y="16142"/>
                    <a:pt x="61819" y="27633"/>
                  </a:cubicBezTo>
                  <a:cubicBezTo>
                    <a:pt x="63736" y="34655"/>
                    <a:pt x="69487" y="40401"/>
                    <a:pt x="76516" y="42316"/>
                  </a:cubicBezTo>
                  <a:cubicBezTo>
                    <a:pt x="76516" y="42954"/>
                    <a:pt x="75877" y="43593"/>
                    <a:pt x="75877" y="44231"/>
                  </a:cubicBezTo>
                  <a:lnTo>
                    <a:pt x="75877" y="106156"/>
                  </a:lnTo>
                  <a:lnTo>
                    <a:pt x="44566" y="106156"/>
                  </a:lnTo>
                  <a:cubicBezTo>
                    <a:pt x="36259" y="106794"/>
                    <a:pt x="28591" y="99772"/>
                    <a:pt x="27952" y="91473"/>
                  </a:cubicBezTo>
                  <a:cubicBezTo>
                    <a:pt x="27952" y="90834"/>
                    <a:pt x="27952" y="90834"/>
                    <a:pt x="27952" y="90196"/>
                  </a:cubicBezTo>
                  <a:lnTo>
                    <a:pt x="27952" y="42316"/>
                  </a:lnTo>
                  <a:cubicBezTo>
                    <a:pt x="39454" y="38486"/>
                    <a:pt x="45844" y="26994"/>
                    <a:pt x="42010" y="15503"/>
                  </a:cubicBezTo>
                  <a:cubicBezTo>
                    <a:pt x="38176" y="4012"/>
                    <a:pt x="26674" y="-2372"/>
                    <a:pt x="15173" y="1458"/>
                  </a:cubicBezTo>
                  <a:cubicBezTo>
                    <a:pt x="3671" y="5289"/>
                    <a:pt x="-2719" y="16780"/>
                    <a:pt x="1115" y="28271"/>
                  </a:cubicBezTo>
                  <a:cubicBezTo>
                    <a:pt x="3032" y="35294"/>
                    <a:pt x="8783" y="40401"/>
                    <a:pt x="15173" y="42316"/>
                  </a:cubicBezTo>
                  <a:lnTo>
                    <a:pt x="15173" y="90196"/>
                  </a:lnTo>
                  <a:cubicBezTo>
                    <a:pt x="14534" y="105517"/>
                    <a:pt x="27313" y="118924"/>
                    <a:pt x="42649" y="119562"/>
                  </a:cubicBezTo>
                  <a:cubicBezTo>
                    <a:pt x="43288" y="119562"/>
                    <a:pt x="43927" y="119562"/>
                    <a:pt x="44566" y="119562"/>
                  </a:cubicBezTo>
                  <a:lnTo>
                    <a:pt x="75877" y="119562"/>
                  </a:lnTo>
                  <a:lnTo>
                    <a:pt x="75877" y="183402"/>
                  </a:lnTo>
                  <a:cubicBezTo>
                    <a:pt x="64375" y="187232"/>
                    <a:pt x="57985" y="198723"/>
                    <a:pt x="61819" y="210215"/>
                  </a:cubicBezTo>
                  <a:cubicBezTo>
                    <a:pt x="65653" y="221706"/>
                    <a:pt x="77155" y="228090"/>
                    <a:pt x="88657" y="224259"/>
                  </a:cubicBezTo>
                  <a:cubicBezTo>
                    <a:pt x="100159" y="220429"/>
                    <a:pt x="106549" y="208938"/>
                    <a:pt x="102715" y="197447"/>
                  </a:cubicBezTo>
                  <a:cubicBezTo>
                    <a:pt x="100798" y="190424"/>
                    <a:pt x="95047" y="185317"/>
                    <a:pt x="88657" y="183402"/>
                  </a:cubicBezTo>
                  <a:lnTo>
                    <a:pt x="88657" y="119562"/>
                  </a:lnTo>
                  <a:lnTo>
                    <a:pt x="119967" y="119562"/>
                  </a:lnTo>
                  <a:cubicBezTo>
                    <a:pt x="128274" y="118924"/>
                    <a:pt x="135942" y="125946"/>
                    <a:pt x="136581" y="134245"/>
                  </a:cubicBezTo>
                  <a:cubicBezTo>
                    <a:pt x="136581" y="134884"/>
                    <a:pt x="136581" y="135522"/>
                    <a:pt x="136581" y="136161"/>
                  </a:cubicBezTo>
                  <a:lnTo>
                    <a:pt x="136581" y="184040"/>
                  </a:lnTo>
                  <a:cubicBezTo>
                    <a:pt x="125079" y="187871"/>
                    <a:pt x="118689" y="199362"/>
                    <a:pt x="122523" y="210853"/>
                  </a:cubicBezTo>
                  <a:cubicBezTo>
                    <a:pt x="126357" y="222344"/>
                    <a:pt x="137859" y="228728"/>
                    <a:pt x="149361" y="224898"/>
                  </a:cubicBezTo>
                  <a:cubicBezTo>
                    <a:pt x="160863" y="221067"/>
                    <a:pt x="167253" y="209576"/>
                    <a:pt x="163419" y="198085"/>
                  </a:cubicBezTo>
                  <a:cubicBezTo>
                    <a:pt x="161502" y="191063"/>
                    <a:pt x="156390" y="185955"/>
                    <a:pt x="150000" y="183402"/>
                  </a:cubicBezTo>
                  <a:lnTo>
                    <a:pt x="150000" y="183402"/>
                  </a:lnTo>
                  <a:close/>
                  <a:moveTo>
                    <a:pt x="22201" y="13588"/>
                  </a:moveTo>
                  <a:cubicBezTo>
                    <a:pt x="27313" y="13588"/>
                    <a:pt x="31147" y="17418"/>
                    <a:pt x="31147" y="22526"/>
                  </a:cubicBezTo>
                  <a:cubicBezTo>
                    <a:pt x="31147" y="27633"/>
                    <a:pt x="27313" y="31463"/>
                    <a:pt x="22201" y="31463"/>
                  </a:cubicBezTo>
                  <a:cubicBezTo>
                    <a:pt x="17089" y="31463"/>
                    <a:pt x="13256" y="27633"/>
                    <a:pt x="13256" y="22526"/>
                  </a:cubicBezTo>
                  <a:lnTo>
                    <a:pt x="13256" y="22526"/>
                  </a:lnTo>
                  <a:cubicBezTo>
                    <a:pt x="13256" y="17418"/>
                    <a:pt x="17089" y="13588"/>
                    <a:pt x="22201" y="13588"/>
                  </a:cubicBezTo>
                  <a:close/>
                  <a:moveTo>
                    <a:pt x="73960" y="22526"/>
                  </a:moveTo>
                  <a:cubicBezTo>
                    <a:pt x="73960" y="17418"/>
                    <a:pt x="77794" y="13588"/>
                    <a:pt x="82906" y="13588"/>
                  </a:cubicBezTo>
                  <a:cubicBezTo>
                    <a:pt x="88018" y="13588"/>
                    <a:pt x="91852" y="17418"/>
                    <a:pt x="91852" y="22526"/>
                  </a:cubicBezTo>
                  <a:cubicBezTo>
                    <a:pt x="91852" y="27633"/>
                    <a:pt x="88018" y="31463"/>
                    <a:pt x="82906" y="31463"/>
                  </a:cubicBezTo>
                  <a:lnTo>
                    <a:pt x="82906" y="31463"/>
                  </a:lnTo>
                  <a:cubicBezTo>
                    <a:pt x="77794" y="31463"/>
                    <a:pt x="73960" y="27633"/>
                    <a:pt x="73960" y="22526"/>
                  </a:cubicBezTo>
                  <a:lnTo>
                    <a:pt x="73960" y="22526"/>
                  </a:lnTo>
                  <a:close/>
                  <a:moveTo>
                    <a:pt x="82906" y="212768"/>
                  </a:moveTo>
                  <a:cubicBezTo>
                    <a:pt x="77794" y="212768"/>
                    <a:pt x="73960" y="208938"/>
                    <a:pt x="73960" y="203831"/>
                  </a:cubicBezTo>
                  <a:cubicBezTo>
                    <a:pt x="73960" y="198723"/>
                    <a:pt x="77794" y="194893"/>
                    <a:pt x="82906" y="194893"/>
                  </a:cubicBezTo>
                  <a:cubicBezTo>
                    <a:pt x="88018" y="194893"/>
                    <a:pt x="91852" y="198723"/>
                    <a:pt x="91852" y="203831"/>
                  </a:cubicBezTo>
                  <a:lnTo>
                    <a:pt x="91852" y="203831"/>
                  </a:lnTo>
                  <a:cubicBezTo>
                    <a:pt x="91852" y="208938"/>
                    <a:pt x="87379" y="212768"/>
                    <a:pt x="82906" y="212768"/>
                  </a:cubicBezTo>
                  <a:lnTo>
                    <a:pt x="82906" y="212768"/>
                  </a:lnTo>
                  <a:close/>
                  <a:moveTo>
                    <a:pt x="143610" y="212768"/>
                  </a:moveTo>
                  <a:cubicBezTo>
                    <a:pt x="138498" y="212768"/>
                    <a:pt x="134664" y="208938"/>
                    <a:pt x="134664" y="203831"/>
                  </a:cubicBezTo>
                  <a:cubicBezTo>
                    <a:pt x="134664" y="198723"/>
                    <a:pt x="138498" y="194893"/>
                    <a:pt x="143610" y="194893"/>
                  </a:cubicBezTo>
                  <a:cubicBezTo>
                    <a:pt x="148722" y="194893"/>
                    <a:pt x="152556" y="198723"/>
                    <a:pt x="152556" y="203831"/>
                  </a:cubicBezTo>
                  <a:lnTo>
                    <a:pt x="152556" y="203831"/>
                  </a:lnTo>
                  <a:cubicBezTo>
                    <a:pt x="151917" y="208938"/>
                    <a:pt x="148083" y="212768"/>
                    <a:pt x="143610" y="212768"/>
                  </a:cubicBezTo>
                  <a:lnTo>
                    <a:pt x="143610" y="212768"/>
                  </a:lnTo>
                  <a:close/>
                </a:path>
              </a:pathLst>
            </a:custGeom>
            <a:solidFill>
              <a:srgbClr val="20A75B"/>
            </a:solidFill>
            <a:ln w="6390" cap="flat">
              <a:noFill/>
              <a:prstDash val="solid"/>
              <a:miter/>
            </a:ln>
          </p:spPr>
          <p:txBody>
            <a:bodyPr rtlCol="0" anchor="ctr"/>
            <a:lstStyle/>
            <a:p>
              <a:endParaRPr lang="en-US"/>
            </a:p>
          </p:txBody>
        </p:sp>
      </p:grpSp>
      <p:grpSp>
        <p:nvGrpSpPr>
          <p:cNvPr id="2" name="Graphic 4">
            <a:extLst>
              <a:ext uri="{FF2B5EF4-FFF2-40B4-BE49-F238E27FC236}">
                <a16:creationId xmlns:a16="http://schemas.microsoft.com/office/drawing/2014/main" id="{412AB33A-1520-7E2F-63AA-244C8CC57038}"/>
              </a:ext>
            </a:extLst>
          </p:cNvPr>
          <p:cNvGrpSpPr/>
          <p:nvPr/>
        </p:nvGrpSpPr>
        <p:grpSpPr>
          <a:xfrm>
            <a:off x="813151" y="1441836"/>
            <a:ext cx="492593" cy="492132"/>
            <a:chOff x="4046108" y="3339623"/>
            <a:chExt cx="361670" cy="361333"/>
          </a:xfrm>
          <a:solidFill>
            <a:schemeClr val="bg1"/>
          </a:solidFill>
        </p:grpSpPr>
        <p:sp>
          <p:nvSpPr>
            <p:cNvPr id="3" name="Graphic 4">
              <a:extLst>
                <a:ext uri="{FF2B5EF4-FFF2-40B4-BE49-F238E27FC236}">
                  <a16:creationId xmlns:a16="http://schemas.microsoft.com/office/drawing/2014/main" id="{074BEA11-28A2-8F27-9E54-703EDF686F9B}"/>
                </a:ext>
              </a:extLst>
            </p:cNvPr>
            <p:cNvSpPr/>
            <p:nvPr/>
          </p:nvSpPr>
          <p:spPr>
            <a:xfrm>
              <a:off x="4173906" y="3578384"/>
              <a:ext cx="38978" cy="21067"/>
            </a:xfrm>
            <a:custGeom>
              <a:avLst/>
              <a:gdLst>
                <a:gd name="connsiteX0" fmla="*/ 0 w 38978"/>
                <a:gd name="connsiteY0" fmla="*/ 1915 h 21067"/>
                <a:gd name="connsiteX1" fmla="*/ 19170 w 38978"/>
                <a:gd name="connsiteY1" fmla="*/ 21067 h 21067"/>
                <a:gd name="connsiteX2" fmla="*/ 38340 w 38978"/>
                <a:gd name="connsiteY2" fmla="*/ 1915 h 21067"/>
                <a:gd name="connsiteX3" fmla="*/ 38978 w 38978"/>
                <a:gd name="connsiteY3" fmla="*/ 0 h 21067"/>
                <a:gd name="connsiteX4" fmla="*/ 0 w 38978"/>
                <a:gd name="connsiteY4" fmla="*/ 0 h 21067"/>
                <a:gd name="connsiteX5" fmla="*/ 0 w 38978"/>
                <a:gd name="connsiteY5" fmla="*/ 1915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78" h="21067">
                  <a:moveTo>
                    <a:pt x="0" y="1915"/>
                  </a:moveTo>
                  <a:cubicBezTo>
                    <a:pt x="0" y="12129"/>
                    <a:pt x="8307" y="21067"/>
                    <a:pt x="19170" y="21067"/>
                  </a:cubicBezTo>
                  <a:cubicBezTo>
                    <a:pt x="30033" y="21067"/>
                    <a:pt x="38340" y="12768"/>
                    <a:pt x="38340" y="1915"/>
                  </a:cubicBezTo>
                  <a:cubicBezTo>
                    <a:pt x="38340" y="1276"/>
                    <a:pt x="38340" y="638"/>
                    <a:pt x="38978" y="0"/>
                  </a:cubicBezTo>
                  <a:lnTo>
                    <a:pt x="0" y="0"/>
                  </a:lnTo>
                  <a:cubicBezTo>
                    <a:pt x="0" y="0"/>
                    <a:pt x="0" y="638"/>
                    <a:pt x="0" y="191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sp>
          <p:nvSpPr>
            <p:cNvPr id="5" name="Graphic 4">
              <a:extLst>
                <a:ext uri="{FF2B5EF4-FFF2-40B4-BE49-F238E27FC236}">
                  <a16:creationId xmlns:a16="http://schemas.microsoft.com/office/drawing/2014/main" id="{882B70CA-F1A5-B218-3C44-B0797447B4E5}"/>
                </a:ext>
              </a:extLst>
            </p:cNvPr>
            <p:cNvSpPr/>
            <p:nvPr/>
          </p:nvSpPr>
          <p:spPr>
            <a:xfrm>
              <a:off x="4115758" y="3462834"/>
              <a:ext cx="145051" cy="102143"/>
            </a:xfrm>
            <a:custGeom>
              <a:avLst/>
              <a:gdLst>
                <a:gd name="connsiteX0" fmla="*/ 0 w 145051"/>
                <a:gd name="connsiteY0" fmla="*/ 69586 h 102143"/>
                <a:gd name="connsiteX1" fmla="*/ 8307 w 145051"/>
                <a:gd name="connsiteY1" fmla="*/ 102144 h 102143"/>
                <a:gd name="connsiteX2" fmla="*/ 145052 w 145051"/>
                <a:gd name="connsiteY2" fmla="*/ 102144 h 102143"/>
                <a:gd name="connsiteX3" fmla="*/ 115658 w 145051"/>
                <a:gd name="connsiteY3" fmla="*/ 0 h 102143"/>
              </a:gdLst>
              <a:ahLst/>
              <a:cxnLst>
                <a:cxn ang="0">
                  <a:pos x="connsiteX0" y="connsiteY0"/>
                </a:cxn>
                <a:cxn ang="0">
                  <a:pos x="connsiteX1" y="connsiteY1"/>
                </a:cxn>
                <a:cxn ang="0">
                  <a:pos x="connsiteX2" y="connsiteY2"/>
                </a:cxn>
                <a:cxn ang="0">
                  <a:pos x="connsiteX3" y="connsiteY3"/>
                </a:cxn>
              </a:cxnLst>
              <a:rect l="l" t="t" r="r" b="b"/>
              <a:pathLst>
                <a:path w="145051" h="102143">
                  <a:moveTo>
                    <a:pt x="0" y="69586"/>
                  </a:moveTo>
                  <a:lnTo>
                    <a:pt x="8307" y="102144"/>
                  </a:lnTo>
                  <a:lnTo>
                    <a:pt x="145052" y="102144"/>
                  </a:lnTo>
                  <a:lnTo>
                    <a:pt x="115658"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sp>
          <p:nvSpPr>
            <p:cNvPr id="6" name="Graphic 4">
              <a:extLst>
                <a:ext uri="{FF2B5EF4-FFF2-40B4-BE49-F238E27FC236}">
                  <a16:creationId xmlns:a16="http://schemas.microsoft.com/office/drawing/2014/main" id="{F28A0FCC-02C6-8978-CBC3-C91051D60B5B}"/>
                </a:ext>
              </a:extLst>
            </p:cNvPr>
            <p:cNvSpPr/>
            <p:nvPr/>
          </p:nvSpPr>
          <p:spPr>
            <a:xfrm>
              <a:off x="4046108" y="333962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19175 w 361670"/>
                <a:gd name="connsiteY5" fmla="*/ 125126 h 361333"/>
                <a:gd name="connsiteX6" fmla="*/ 261348 w 361670"/>
                <a:gd name="connsiteY6" fmla="*/ 91291 h 361333"/>
                <a:gd name="connsiteX7" fmla="*/ 270294 w 361670"/>
                <a:gd name="connsiteY7" fmla="*/ 92568 h 361333"/>
                <a:gd name="connsiteX8" fmla="*/ 269016 w 361670"/>
                <a:gd name="connsiteY8" fmla="*/ 101505 h 361333"/>
                <a:gd name="connsiteX9" fmla="*/ 226843 w 361670"/>
                <a:gd name="connsiteY9" fmla="*/ 135341 h 361333"/>
                <a:gd name="connsiteX10" fmla="*/ 223009 w 361670"/>
                <a:gd name="connsiteY10" fmla="*/ 136617 h 361333"/>
                <a:gd name="connsiteX11" fmla="*/ 217897 w 361670"/>
                <a:gd name="connsiteY11" fmla="*/ 134064 h 361333"/>
                <a:gd name="connsiteX12" fmla="*/ 219175 w 361670"/>
                <a:gd name="connsiteY12" fmla="*/ 125126 h 361333"/>
                <a:gd name="connsiteX13" fmla="*/ 228121 w 361670"/>
                <a:gd name="connsiteY13" fmla="*/ 235569 h 361333"/>
                <a:gd name="connsiteX14" fmla="*/ 223009 w 361670"/>
                <a:gd name="connsiteY14" fmla="*/ 238122 h 361333"/>
                <a:gd name="connsiteX15" fmla="*/ 223009 w 361670"/>
                <a:gd name="connsiteY15" fmla="*/ 238122 h 361333"/>
                <a:gd name="connsiteX16" fmla="*/ 178279 w 361670"/>
                <a:gd name="connsiteY16" fmla="*/ 238122 h 361333"/>
                <a:gd name="connsiteX17" fmla="*/ 178918 w 361670"/>
                <a:gd name="connsiteY17" fmla="*/ 240038 h 361333"/>
                <a:gd name="connsiteX18" fmla="*/ 146969 w 361670"/>
                <a:gd name="connsiteY18" fmla="*/ 271958 h 361333"/>
                <a:gd name="connsiteX19" fmla="*/ 115019 w 361670"/>
                <a:gd name="connsiteY19" fmla="*/ 240038 h 361333"/>
                <a:gd name="connsiteX20" fmla="*/ 115658 w 361670"/>
                <a:gd name="connsiteY20" fmla="*/ 238122 h 361333"/>
                <a:gd name="connsiteX21" fmla="*/ 72845 w 361670"/>
                <a:gd name="connsiteY21" fmla="*/ 238122 h 361333"/>
                <a:gd name="connsiteX22" fmla="*/ 66455 w 361670"/>
                <a:gd name="connsiteY22" fmla="*/ 233015 h 361333"/>
                <a:gd name="connsiteX23" fmla="*/ 55593 w 361670"/>
                <a:gd name="connsiteY23" fmla="*/ 190881 h 361333"/>
                <a:gd name="connsiteX24" fmla="*/ 58788 w 361670"/>
                <a:gd name="connsiteY24" fmla="*/ 183859 h 361333"/>
                <a:gd name="connsiteX25" fmla="*/ 185947 w 361670"/>
                <a:gd name="connsiteY25" fmla="*/ 107889 h 361333"/>
                <a:gd name="connsiteX26" fmla="*/ 191698 w 361670"/>
                <a:gd name="connsiteY26" fmla="*/ 107251 h 361333"/>
                <a:gd name="connsiteX27" fmla="*/ 195532 w 361670"/>
                <a:gd name="connsiteY27" fmla="*/ 111720 h 361333"/>
                <a:gd name="connsiteX28" fmla="*/ 229399 w 361670"/>
                <a:gd name="connsiteY28" fmla="*/ 230462 h 361333"/>
                <a:gd name="connsiteX29" fmla="*/ 228121 w 361670"/>
                <a:gd name="connsiteY29" fmla="*/ 235569 h 361333"/>
                <a:gd name="connsiteX30" fmla="*/ 299688 w 361670"/>
                <a:gd name="connsiteY30" fmla="*/ 221524 h 361333"/>
                <a:gd name="connsiteX31" fmla="*/ 298410 w 361670"/>
                <a:gd name="connsiteY31" fmla="*/ 221524 h 361333"/>
                <a:gd name="connsiteX32" fmla="*/ 247291 w 361670"/>
                <a:gd name="connsiteY32" fmla="*/ 213225 h 361333"/>
                <a:gd name="connsiteX33" fmla="*/ 242178 w 361670"/>
                <a:gd name="connsiteY33" fmla="*/ 205564 h 361333"/>
                <a:gd name="connsiteX34" fmla="*/ 249846 w 361670"/>
                <a:gd name="connsiteY34" fmla="*/ 200457 h 361333"/>
                <a:gd name="connsiteX35" fmla="*/ 300966 w 361670"/>
                <a:gd name="connsiteY35" fmla="*/ 208756 h 361333"/>
                <a:gd name="connsiteX36" fmla="*/ 306078 w 361670"/>
                <a:gd name="connsiteY36" fmla="*/ 216417 h 361333"/>
                <a:gd name="connsiteX37" fmla="*/ 299688 w 361670"/>
                <a:gd name="connsiteY37" fmla="*/ 221524 h 361333"/>
                <a:gd name="connsiteX38" fmla="*/ 301605 w 361670"/>
                <a:gd name="connsiteY38" fmla="*/ 153216 h 361333"/>
                <a:gd name="connsiteX39" fmla="*/ 242178 w 361670"/>
                <a:gd name="connsiteY39" fmla="*/ 170452 h 361333"/>
                <a:gd name="connsiteX40" fmla="*/ 240261 w 361670"/>
                <a:gd name="connsiteY40" fmla="*/ 170452 h 361333"/>
                <a:gd name="connsiteX41" fmla="*/ 233872 w 361670"/>
                <a:gd name="connsiteY41" fmla="*/ 165984 h 361333"/>
                <a:gd name="connsiteX42" fmla="*/ 238345 w 361670"/>
                <a:gd name="connsiteY42" fmla="*/ 158323 h 361333"/>
                <a:gd name="connsiteX43" fmla="*/ 297771 w 361670"/>
                <a:gd name="connsiteY43" fmla="*/ 141086 h 361333"/>
                <a:gd name="connsiteX44" fmla="*/ 305439 w 361670"/>
                <a:gd name="connsiteY44" fmla="*/ 145555 h 361333"/>
                <a:gd name="connsiteX45" fmla="*/ 301605 w 361670"/>
                <a:gd name="connsiteY45" fmla="*/ 153216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219175" y="125126"/>
                  </a:moveTo>
                  <a:lnTo>
                    <a:pt x="261348" y="91291"/>
                  </a:lnTo>
                  <a:cubicBezTo>
                    <a:pt x="263904" y="89376"/>
                    <a:pt x="268377" y="89376"/>
                    <a:pt x="270294" y="92568"/>
                  </a:cubicBezTo>
                  <a:cubicBezTo>
                    <a:pt x="272211" y="95121"/>
                    <a:pt x="272211" y="99590"/>
                    <a:pt x="269016" y="101505"/>
                  </a:cubicBezTo>
                  <a:lnTo>
                    <a:pt x="226843" y="135341"/>
                  </a:lnTo>
                  <a:cubicBezTo>
                    <a:pt x="225565" y="135979"/>
                    <a:pt x="224287" y="136617"/>
                    <a:pt x="223009" y="136617"/>
                  </a:cubicBezTo>
                  <a:cubicBezTo>
                    <a:pt x="221092" y="136617"/>
                    <a:pt x="219175" y="135979"/>
                    <a:pt x="217897" y="134064"/>
                  </a:cubicBezTo>
                  <a:cubicBezTo>
                    <a:pt x="215980" y="131510"/>
                    <a:pt x="216619" y="127680"/>
                    <a:pt x="219175" y="125126"/>
                  </a:cubicBezTo>
                  <a:close/>
                  <a:moveTo>
                    <a:pt x="228121" y="235569"/>
                  </a:moveTo>
                  <a:cubicBezTo>
                    <a:pt x="226843" y="236846"/>
                    <a:pt x="224926" y="238122"/>
                    <a:pt x="223009" y="238122"/>
                  </a:cubicBezTo>
                  <a:lnTo>
                    <a:pt x="223009" y="238122"/>
                  </a:lnTo>
                  <a:lnTo>
                    <a:pt x="178279" y="238122"/>
                  </a:lnTo>
                  <a:cubicBezTo>
                    <a:pt x="178279" y="238761"/>
                    <a:pt x="178918" y="239399"/>
                    <a:pt x="178918" y="240038"/>
                  </a:cubicBezTo>
                  <a:cubicBezTo>
                    <a:pt x="178918" y="257274"/>
                    <a:pt x="164860" y="271958"/>
                    <a:pt x="146969" y="271958"/>
                  </a:cubicBezTo>
                  <a:cubicBezTo>
                    <a:pt x="129077" y="271958"/>
                    <a:pt x="115019" y="257913"/>
                    <a:pt x="115019" y="240038"/>
                  </a:cubicBezTo>
                  <a:cubicBezTo>
                    <a:pt x="115019" y="239399"/>
                    <a:pt x="115019" y="238761"/>
                    <a:pt x="115658" y="238122"/>
                  </a:cubicBezTo>
                  <a:lnTo>
                    <a:pt x="72845" y="238122"/>
                  </a:lnTo>
                  <a:cubicBezTo>
                    <a:pt x="69650" y="238122"/>
                    <a:pt x="67094" y="236207"/>
                    <a:pt x="66455" y="233015"/>
                  </a:cubicBezTo>
                  <a:lnTo>
                    <a:pt x="55593" y="190881"/>
                  </a:lnTo>
                  <a:cubicBezTo>
                    <a:pt x="54953" y="188327"/>
                    <a:pt x="56231" y="185135"/>
                    <a:pt x="58788" y="183859"/>
                  </a:cubicBezTo>
                  <a:lnTo>
                    <a:pt x="185947" y="107889"/>
                  </a:lnTo>
                  <a:cubicBezTo>
                    <a:pt x="187864" y="106613"/>
                    <a:pt x="189781" y="106613"/>
                    <a:pt x="191698" y="107251"/>
                  </a:cubicBezTo>
                  <a:cubicBezTo>
                    <a:pt x="193615" y="107889"/>
                    <a:pt x="194893" y="109805"/>
                    <a:pt x="195532" y="111720"/>
                  </a:cubicBezTo>
                  <a:lnTo>
                    <a:pt x="229399" y="230462"/>
                  </a:lnTo>
                  <a:cubicBezTo>
                    <a:pt x="230038" y="232377"/>
                    <a:pt x="229399" y="234292"/>
                    <a:pt x="228121" y="235569"/>
                  </a:cubicBezTo>
                  <a:close/>
                  <a:moveTo>
                    <a:pt x="299688" y="221524"/>
                  </a:moveTo>
                  <a:cubicBezTo>
                    <a:pt x="299049" y="221524"/>
                    <a:pt x="299049" y="221524"/>
                    <a:pt x="298410" y="221524"/>
                  </a:cubicBezTo>
                  <a:lnTo>
                    <a:pt x="247291" y="213225"/>
                  </a:lnTo>
                  <a:cubicBezTo>
                    <a:pt x="244096" y="212587"/>
                    <a:pt x="241540" y="209395"/>
                    <a:pt x="242178" y="205564"/>
                  </a:cubicBezTo>
                  <a:cubicBezTo>
                    <a:pt x="242818" y="202372"/>
                    <a:pt x="246013" y="199819"/>
                    <a:pt x="249846" y="200457"/>
                  </a:cubicBezTo>
                  <a:lnTo>
                    <a:pt x="300966" y="208756"/>
                  </a:lnTo>
                  <a:cubicBezTo>
                    <a:pt x="304161" y="209395"/>
                    <a:pt x="306717" y="212587"/>
                    <a:pt x="306078" y="216417"/>
                  </a:cubicBezTo>
                  <a:cubicBezTo>
                    <a:pt x="305439" y="218971"/>
                    <a:pt x="302883" y="221524"/>
                    <a:pt x="299688" y="221524"/>
                  </a:cubicBezTo>
                  <a:close/>
                  <a:moveTo>
                    <a:pt x="301605" y="153216"/>
                  </a:moveTo>
                  <a:lnTo>
                    <a:pt x="242178" y="170452"/>
                  </a:lnTo>
                  <a:cubicBezTo>
                    <a:pt x="241540" y="170452"/>
                    <a:pt x="240901" y="170452"/>
                    <a:pt x="240261" y="170452"/>
                  </a:cubicBezTo>
                  <a:cubicBezTo>
                    <a:pt x="237706" y="170452"/>
                    <a:pt x="235150" y="168537"/>
                    <a:pt x="233872" y="165984"/>
                  </a:cubicBezTo>
                  <a:cubicBezTo>
                    <a:pt x="232593" y="162792"/>
                    <a:pt x="235150" y="158961"/>
                    <a:pt x="238345" y="158323"/>
                  </a:cubicBezTo>
                  <a:lnTo>
                    <a:pt x="297771" y="141086"/>
                  </a:lnTo>
                  <a:cubicBezTo>
                    <a:pt x="300966" y="140448"/>
                    <a:pt x="304800" y="142363"/>
                    <a:pt x="305439" y="145555"/>
                  </a:cubicBezTo>
                  <a:cubicBezTo>
                    <a:pt x="306717" y="148747"/>
                    <a:pt x="304800" y="152577"/>
                    <a:pt x="301605" y="15321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grpSp>
    </p:spTree>
    <p:extLst>
      <p:ext uri="{BB962C8B-B14F-4D97-AF65-F5344CB8AC3E}">
        <p14:creationId xmlns:p14="http://schemas.microsoft.com/office/powerpoint/2010/main" val="10757852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1E2D842-5AB9-1166-47CD-11CB9DC9E7BE}"/>
              </a:ext>
            </a:extLst>
          </p:cNvPr>
          <p:cNvSpPr>
            <a:spLocks noGrp="1"/>
          </p:cNvSpPr>
          <p:nvPr>
            <p:ph type="title"/>
          </p:nvPr>
        </p:nvSpPr>
        <p:spPr/>
        <p:txBody>
          <a:bodyPr/>
          <a:lstStyle/>
          <a:p>
            <a:r>
              <a:rPr lang="en-GB" sz="2000" b="1" dirty="0"/>
              <a:t>Emerging strategies used by leading FS organisations to strengthen their cyber risk maturity</a:t>
            </a:r>
          </a:p>
        </p:txBody>
      </p:sp>
      <p:sp>
        <p:nvSpPr>
          <p:cNvPr id="38" name="Text Placeholder 3">
            <a:extLst>
              <a:ext uri="{FF2B5EF4-FFF2-40B4-BE49-F238E27FC236}">
                <a16:creationId xmlns:a16="http://schemas.microsoft.com/office/drawing/2014/main" id="{C616E934-3B9A-604C-F933-72244C7CAA15}"/>
              </a:ext>
            </a:extLst>
          </p:cNvPr>
          <p:cNvSpPr txBox="1">
            <a:spLocks/>
          </p:cNvSpPr>
          <p:nvPr/>
        </p:nvSpPr>
        <p:spPr>
          <a:xfrm>
            <a:off x="534046" y="1266468"/>
            <a:ext cx="9347200" cy="814039"/>
          </a:xfrm>
          <a:prstGeom prst="rect">
            <a:avLst/>
          </a:prstGeom>
        </p:spPr>
        <p:txBody>
          <a:bodyPr/>
          <a:lstStyle>
            <a:lvl1pPr marL="0" indent="0" algn="l" defTabSz="685800" rtl="0" eaLnBrk="1" latinLnBrk="0" hangingPunct="1">
              <a:spcBef>
                <a:spcPts val="0"/>
              </a:spcBef>
              <a:spcAft>
                <a:spcPts val="750"/>
              </a:spcAft>
              <a:buSzPct val="100000"/>
              <a:buFontTx/>
              <a:buNone/>
              <a:defRPr sz="1200" b="0" kern="1200">
                <a:solidFill>
                  <a:schemeClr val="tx1"/>
                </a:solidFill>
                <a:latin typeface="+mn-lt"/>
                <a:ea typeface="+mn-ea"/>
                <a:cs typeface="Calibri Light" panose="020F0302020204030204" pitchFamily="34" charset="0"/>
              </a:defRPr>
            </a:lvl1pPr>
            <a:lvl2pPr marL="104775" indent="-104775" algn="l" defTabSz="685800" rtl="0" eaLnBrk="1" latinLnBrk="0" hangingPunct="1">
              <a:spcBef>
                <a:spcPts val="0"/>
              </a:spcBef>
              <a:spcAft>
                <a:spcPts val="750"/>
              </a:spcAft>
              <a:buClrTx/>
              <a:buSzPct val="100000"/>
              <a:buFont typeface="Arial" panose="020B0604020202020204" pitchFamily="34" charset="0"/>
              <a:buChar char="•"/>
              <a:defRPr lang="en-US" sz="1200" b="1" kern="1200" dirty="0" smtClean="0">
                <a:solidFill>
                  <a:schemeClr val="tx1"/>
                </a:solidFill>
                <a:latin typeface="+mj-lt"/>
                <a:ea typeface="+mn-ea"/>
                <a:cs typeface="Calibri Light" panose="020F0302020204030204" pitchFamily="34" charset="0"/>
              </a:defRPr>
            </a:lvl2pPr>
            <a:lvl3pPr marL="228600"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dirty="0" smtClean="0">
                <a:solidFill>
                  <a:schemeClr val="tx1"/>
                </a:solidFill>
                <a:latin typeface="+mn-lt"/>
                <a:ea typeface="+mn-ea"/>
                <a:cs typeface="Calibri Light" panose="020F0302020204030204" pitchFamily="34" charset="0"/>
              </a:defRPr>
            </a:lvl3pPr>
            <a:lvl4pPr marL="352425" indent="-104775" algn="l" defTabSz="685800" rtl="0" eaLnBrk="1" latinLnBrk="0" hangingPunct="1">
              <a:spcBef>
                <a:spcPts val="0"/>
              </a:spcBef>
              <a:spcAft>
                <a:spcPts val="750"/>
              </a:spcAft>
              <a:buClrTx/>
              <a:buSzPct val="100000"/>
              <a:buFont typeface="Arial" panose="020B0604020202020204" pitchFamily="34" charset="0"/>
              <a:buChar char="◦"/>
              <a:defRPr lang="en-US" sz="1200" kern="1200" baseline="0" dirty="0" smtClean="0">
                <a:solidFill>
                  <a:schemeClr val="tx1"/>
                </a:solidFill>
                <a:latin typeface="+mn-lt"/>
                <a:ea typeface="+mn-ea"/>
                <a:cs typeface="Calibri Light" panose="020F0302020204030204" pitchFamily="34" charset="0"/>
              </a:defRPr>
            </a:lvl4pPr>
            <a:lvl5pPr marL="476250" indent="-104775" algn="l" defTabSz="598885" rtl="0" eaLnBrk="1" latinLnBrk="0" hangingPunct="1">
              <a:spcBef>
                <a:spcPts val="0"/>
              </a:spcBef>
              <a:spcAft>
                <a:spcPts val="75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Calibri Light" panose="020F0302020204030204" pitchFamily="34" charset="0"/>
              </a:defRPr>
            </a:lvl5pPr>
            <a:lvl6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6pPr>
            <a:lvl7pPr marL="399600" indent="-132300" algn="l" defTabSz="685800" rtl="0" eaLnBrk="1" latinLnBrk="0" hangingPunct="1">
              <a:spcBef>
                <a:spcPts val="0"/>
              </a:spcBef>
              <a:spcAft>
                <a:spcPts val="750"/>
              </a:spcAft>
              <a:buFont typeface="Verdana" panose="020B0604030504040204" pitchFamily="34" charset="0"/>
              <a:buChar char="−"/>
              <a:defRPr sz="900" kern="1200">
                <a:solidFill>
                  <a:schemeClr val="tx1"/>
                </a:solidFill>
                <a:latin typeface="+mn-lt"/>
                <a:ea typeface="+mn-ea"/>
                <a:cs typeface="+mn-cs"/>
              </a:defRPr>
            </a:lvl7pPr>
            <a:lvl8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8pPr>
            <a:lvl9pPr marL="399600" indent="-132300" algn="l" defTabSz="685800" rtl="0" eaLnBrk="1" latinLnBrk="0" hangingPunct="1">
              <a:spcBef>
                <a:spcPts val="0"/>
              </a:spcBef>
              <a:spcAft>
                <a:spcPts val="750"/>
              </a:spcAft>
              <a:buFont typeface="Verdana" panose="020B0604030504040204" pitchFamily="34" charset="0"/>
              <a:buChar char="−"/>
              <a:defRPr sz="900" kern="1200" baseline="0">
                <a:solidFill>
                  <a:schemeClr val="tx1"/>
                </a:solidFill>
                <a:latin typeface="+mn-lt"/>
                <a:ea typeface="+mn-ea"/>
                <a:cs typeface="+mn-cs"/>
              </a:defRPr>
            </a:lvl9pPr>
          </a:lstStyle>
          <a:p>
            <a:pPr marL="0" marR="0" lvl="0" indent="0" algn="l" defTabSz="685800" rtl="0" eaLnBrk="1" fontAlgn="auto" latinLnBrk="0" hangingPunct="1">
              <a:lnSpc>
                <a:spcPct val="100000"/>
              </a:lnSpc>
              <a:spcBef>
                <a:spcPts val="0"/>
              </a:spcBef>
              <a:spcAft>
                <a:spcPts val="750"/>
              </a:spcAft>
              <a:buClrTx/>
              <a:buSzPct val="100000"/>
              <a:buFontTx/>
              <a:buNone/>
              <a:tabLst/>
              <a:defRPr/>
            </a:pPr>
            <a:endParaRPr kumimoji="0" lang="en-US" sz="1200" b="1" i="0" u="none" strike="noStrike" kern="1200" cap="none" spc="0" normalizeH="0" baseline="0" noProof="0" dirty="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grpSp>
        <p:nvGrpSpPr>
          <p:cNvPr id="39" name="Group 38">
            <a:extLst>
              <a:ext uri="{FF2B5EF4-FFF2-40B4-BE49-F238E27FC236}">
                <a16:creationId xmlns:a16="http://schemas.microsoft.com/office/drawing/2014/main" id="{B66CB2C9-3946-033F-E91D-09739FD31B80}"/>
              </a:ext>
            </a:extLst>
          </p:cNvPr>
          <p:cNvGrpSpPr/>
          <p:nvPr/>
        </p:nvGrpSpPr>
        <p:grpSpPr>
          <a:xfrm>
            <a:off x="577077" y="1280883"/>
            <a:ext cx="11183421" cy="814039"/>
            <a:chOff x="-32966" y="-347305"/>
            <a:chExt cx="9846047" cy="698657"/>
          </a:xfrm>
        </p:grpSpPr>
        <p:sp>
          <p:nvSpPr>
            <p:cNvPr id="40" name="Rectangle: Rounded Corners 12">
              <a:extLst>
                <a:ext uri="{FF2B5EF4-FFF2-40B4-BE49-F238E27FC236}">
                  <a16:creationId xmlns:a16="http://schemas.microsoft.com/office/drawing/2014/main" id="{FBC2F61A-8AC6-5AAA-A5D6-6449BB4A109B}"/>
                </a:ext>
              </a:extLst>
            </p:cNvPr>
            <p:cNvSpPr/>
            <p:nvPr/>
          </p:nvSpPr>
          <p:spPr bwMode="gray">
            <a:xfrm>
              <a:off x="-32966" y="-341984"/>
              <a:ext cx="9846047" cy="692150"/>
            </a:xfrm>
            <a:prstGeom prst="roundRect">
              <a:avLst>
                <a:gd name="adj" fmla="val 12052"/>
              </a:avLst>
            </a:prstGeom>
            <a:solidFill>
              <a:schemeClr val="accent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2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41" name="Rectangle: Rounded Corners 13">
              <a:extLst>
                <a:ext uri="{FF2B5EF4-FFF2-40B4-BE49-F238E27FC236}">
                  <a16:creationId xmlns:a16="http://schemas.microsoft.com/office/drawing/2014/main" id="{B309FF0B-2E8B-EE85-4B99-1837ADF2F864}"/>
                </a:ext>
              </a:extLst>
            </p:cNvPr>
            <p:cNvSpPr/>
            <p:nvPr/>
          </p:nvSpPr>
          <p:spPr bwMode="gray">
            <a:xfrm>
              <a:off x="854290" y="-347305"/>
              <a:ext cx="8862920" cy="698657"/>
            </a:xfrm>
            <a:prstGeom prst="roundRect">
              <a:avLst>
                <a:gd name="adj" fmla="val 9744"/>
              </a:avLst>
            </a:prstGeom>
            <a:solidFill>
              <a:schemeClr val="bg1">
                <a:lumMod val="95000"/>
              </a:schemeClr>
            </a:solidFill>
            <a:ln w="19050" algn="ctr">
              <a:noFill/>
              <a:miter lim="800000"/>
              <a:headEnd/>
              <a:tailEnd/>
            </a:ln>
          </p:spPr>
          <p:txBody>
            <a:bodyPr wrap="square" lIns="88900" tIns="88900" rIns="88900" bIns="88900" rtlCol="0" anchor="ctr"/>
            <a:lstStyle/>
            <a:p>
              <a:pPr>
                <a:defRPr/>
              </a:pPr>
              <a:r>
                <a:rPr lang="en-GB" sz="1400" dirty="0">
                  <a:ea typeface="Calibri" panose="020F0502020204030204" pitchFamily="34" charset="0"/>
                </a:rPr>
                <a:t>There are multiple </a:t>
              </a:r>
              <a:r>
                <a:rPr lang="en-GB" sz="1400" dirty="0">
                  <a:effectLst/>
                  <a:ea typeface="Calibri" panose="020F0502020204030204" pitchFamily="34" charset="0"/>
                </a:rPr>
                <a:t>strategies employed by FS organisations to enhance their cyber recovery capability and mitigate the consequences of catastrophic scenarios. In most organisations cyber recovery initiatives are driven by the C-suite and accountability tends to sit at this level.</a:t>
              </a:r>
            </a:p>
          </p:txBody>
        </p:sp>
      </p:grpSp>
      <p:grpSp>
        <p:nvGrpSpPr>
          <p:cNvPr id="42" name="Graphic 4">
            <a:extLst>
              <a:ext uri="{FF2B5EF4-FFF2-40B4-BE49-F238E27FC236}">
                <a16:creationId xmlns:a16="http://schemas.microsoft.com/office/drawing/2014/main" id="{4B741BCA-249A-9E29-77C9-36F609B4D615}"/>
              </a:ext>
            </a:extLst>
          </p:cNvPr>
          <p:cNvGrpSpPr/>
          <p:nvPr/>
        </p:nvGrpSpPr>
        <p:grpSpPr>
          <a:xfrm>
            <a:off x="813151" y="1441836"/>
            <a:ext cx="492593" cy="492132"/>
            <a:chOff x="4046108" y="3339623"/>
            <a:chExt cx="361670" cy="361333"/>
          </a:xfrm>
          <a:solidFill>
            <a:schemeClr val="bg1"/>
          </a:solidFill>
        </p:grpSpPr>
        <p:sp>
          <p:nvSpPr>
            <p:cNvPr id="43" name="Graphic 4">
              <a:extLst>
                <a:ext uri="{FF2B5EF4-FFF2-40B4-BE49-F238E27FC236}">
                  <a16:creationId xmlns:a16="http://schemas.microsoft.com/office/drawing/2014/main" id="{47226F01-C084-BB2F-373D-360C9A317B1A}"/>
                </a:ext>
              </a:extLst>
            </p:cNvPr>
            <p:cNvSpPr/>
            <p:nvPr/>
          </p:nvSpPr>
          <p:spPr>
            <a:xfrm>
              <a:off x="4173906" y="3578384"/>
              <a:ext cx="38978" cy="21067"/>
            </a:xfrm>
            <a:custGeom>
              <a:avLst/>
              <a:gdLst>
                <a:gd name="connsiteX0" fmla="*/ 0 w 38978"/>
                <a:gd name="connsiteY0" fmla="*/ 1915 h 21067"/>
                <a:gd name="connsiteX1" fmla="*/ 19170 w 38978"/>
                <a:gd name="connsiteY1" fmla="*/ 21067 h 21067"/>
                <a:gd name="connsiteX2" fmla="*/ 38340 w 38978"/>
                <a:gd name="connsiteY2" fmla="*/ 1915 h 21067"/>
                <a:gd name="connsiteX3" fmla="*/ 38978 w 38978"/>
                <a:gd name="connsiteY3" fmla="*/ 0 h 21067"/>
                <a:gd name="connsiteX4" fmla="*/ 0 w 38978"/>
                <a:gd name="connsiteY4" fmla="*/ 0 h 21067"/>
                <a:gd name="connsiteX5" fmla="*/ 0 w 38978"/>
                <a:gd name="connsiteY5" fmla="*/ 1915 h 2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78" h="21067">
                  <a:moveTo>
                    <a:pt x="0" y="1915"/>
                  </a:moveTo>
                  <a:cubicBezTo>
                    <a:pt x="0" y="12129"/>
                    <a:pt x="8307" y="21067"/>
                    <a:pt x="19170" y="21067"/>
                  </a:cubicBezTo>
                  <a:cubicBezTo>
                    <a:pt x="30033" y="21067"/>
                    <a:pt x="38340" y="12768"/>
                    <a:pt x="38340" y="1915"/>
                  </a:cubicBezTo>
                  <a:cubicBezTo>
                    <a:pt x="38340" y="1276"/>
                    <a:pt x="38340" y="638"/>
                    <a:pt x="38978" y="0"/>
                  </a:cubicBezTo>
                  <a:lnTo>
                    <a:pt x="0" y="0"/>
                  </a:lnTo>
                  <a:cubicBezTo>
                    <a:pt x="0" y="0"/>
                    <a:pt x="0" y="638"/>
                    <a:pt x="0" y="1915"/>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sp>
          <p:nvSpPr>
            <p:cNvPr id="44" name="Graphic 4">
              <a:extLst>
                <a:ext uri="{FF2B5EF4-FFF2-40B4-BE49-F238E27FC236}">
                  <a16:creationId xmlns:a16="http://schemas.microsoft.com/office/drawing/2014/main" id="{1D43D4F6-DB6B-3618-4DA8-EB00FF905F87}"/>
                </a:ext>
              </a:extLst>
            </p:cNvPr>
            <p:cNvSpPr/>
            <p:nvPr/>
          </p:nvSpPr>
          <p:spPr>
            <a:xfrm>
              <a:off x="4115758" y="3462834"/>
              <a:ext cx="145051" cy="102143"/>
            </a:xfrm>
            <a:custGeom>
              <a:avLst/>
              <a:gdLst>
                <a:gd name="connsiteX0" fmla="*/ 0 w 145051"/>
                <a:gd name="connsiteY0" fmla="*/ 69586 h 102143"/>
                <a:gd name="connsiteX1" fmla="*/ 8307 w 145051"/>
                <a:gd name="connsiteY1" fmla="*/ 102144 h 102143"/>
                <a:gd name="connsiteX2" fmla="*/ 145052 w 145051"/>
                <a:gd name="connsiteY2" fmla="*/ 102144 h 102143"/>
                <a:gd name="connsiteX3" fmla="*/ 115658 w 145051"/>
                <a:gd name="connsiteY3" fmla="*/ 0 h 102143"/>
              </a:gdLst>
              <a:ahLst/>
              <a:cxnLst>
                <a:cxn ang="0">
                  <a:pos x="connsiteX0" y="connsiteY0"/>
                </a:cxn>
                <a:cxn ang="0">
                  <a:pos x="connsiteX1" y="connsiteY1"/>
                </a:cxn>
                <a:cxn ang="0">
                  <a:pos x="connsiteX2" y="connsiteY2"/>
                </a:cxn>
                <a:cxn ang="0">
                  <a:pos x="connsiteX3" y="connsiteY3"/>
                </a:cxn>
              </a:cxnLst>
              <a:rect l="l" t="t" r="r" b="b"/>
              <a:pathLst>
                <a:path w="145051" h="102143">
                  <a:moveTo>
                    <a:pt x="0" y="69586"/>
                  </a:moveTo>
                  <a:lnTo>
                    <a:pt x="8307" y="102144"/>
                  </a:lnTo>
                  <a:lnTo>
                    <a:pt x="145052" y="102144"/>
                  </a:lnTo>
                  <a:lnTo>
                    <a:pt x="115658" y="0"/>
                  </a:ln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sp>
          <p:nvSpPr>
            <p:cNvPr id="45" name="Graphic 4">
              <a:extLst>
                <a:ext uri="{FF2B5EF4-FFF2-40B4-BE49-F238E27FC236}">
                  <a16:creationId xmlns:a16="http://schemas.microsoft.com/office/drawing/2014/main" id="{D0E69106-4E2E-6DD1-9639-ED8363643D68}"/>
                </a:ext>
              </a:extLst>
            </p:cNvPr>
            <p:cNvSpPr/>
            <p:nvPr/>
          </p:nvSpPr>
          <p:spPr>
            <a:xfrm>
              <a:off x="4046108" y="3339623"/>
              <a:ext cx="361670" cy="361333"/>
            </a:xfrm>
            <a:custGeom>
              <a:avLst/>
              <a:gdLst>
                <a:gd name="connsiteX0" fmla="*/ 180835 w 361670"/>
                <a:gd name="connsiteY0" fmla="*/ 0 h 361333"/>
                <a:gd name="connsiteX1" fmla="*/ 0 w 361670"/>
                <a:gd name="connsiteY1" fmla="*/ 180667 h 361333"/>
                <a:gd name="connsiteX2" fmla="*/ 180835 w 361670"/>
                <a:gd name="connsiteY2" fmla="*/ 361333 h 361333"/>
                <a:gd name="connsiteX3" fmla="*/ 361670 w 361670"/>
                <a:gd name="connsiteY3" fmla="*/ 180667 h 361333"/>
                <a:gd name="connsiteX4" fmla="*/ 180835 w 361670"/>
                <a:gd name="connsiteY4" fmla="*/ 0 h 361333"/>
                <a:gd name="connsiteX5" fmla="*/ 219175 w 361670"/>
                <a:gd name="connsiteY5" fmla="*/ 125126 h 361333"/>
                <a:gd name="connsiteX6" fmla="*/ 261348 w 361670"/>
                <a:gd name="connsiteY6" fmla="*/ 91291 h 361333"/>
                <a:gd name="connsiteX7" fmla="*/ 270294 w 361670"/>
                <a:gd name="connsiteY7" fmla="*/ 92568 h 361333"/>
                <a:gd name="connsiteX8" fmla="*/ 269016 w 361670"/>
                <a:gd name="connsiteY8" fmla="*/ 101505 h 361333"/>
                <a:gd name="connsiteX9" fmla="*/ 226843 w 361670"/>
                <a:gd name="connsiteY9" fmla="*/ 135341 h 361333"/>
                <a:gd name="connsiteX10" fmla="*/ 223009 w 361670"/>
                <a:gd name="connsiteY10" fmla="*/ 136617 h 361333"/>
                <a:gd name="connsiteX11" fmla="*/ 217897 w 361670"/>
                <a:gd name="connsiteY11" fmla="*/ 134064 h 361333"/>
                <a:gd name="connsiteX12" fmla="*/ 219175 w 361670"/>
                <a:gd name="connsiteY12" fmla="*/ 125126 h 361333"/>
                <a:gd name="connsiteX13" fmla="*/ 228121 w 361670"/>
                <a:gd name="connsiteY13" fmla="*/ 235569 h 361333"/>
                <a:gd name="connsiteX14" fmla="*/ 223009 w 361670"/>
                <a:gd name="connsiteY14" fmla="*/ 238122 h 361333"/>
                <a:gd name="connsiteX15" fmla="*/ 223009 w 361670"/>
                <a:gd name="connsiteY15" fmla="*/ 238122 h 361333"/>
                <a:gd name="connsiteX16" fmla="*/ 178279 w 361670"/>
                <a:gd name="connsiteY16" fmla="*/ 238122 h 361333"/>
                <a:gd name="connsiteX17" fmla="*/ 178918 w 361670"/>
                <a:gd name="connsiteY17" fmla="*/ 240038 h 361333"/>
                <a:gd name="connsiteX18" fmla="*/ 146969 w 361670"/>
                <a:gd name="connsiteY18" fmla="*/ 271958 h 361333"/>
                <a:gd name="connsiteX19" fmla="*/ 115019 w 361670"/>
                <a:gd name="connsiteY19" fmla="*/ 240038 h 361333"/>
                <a:gd name="connsiteX20" fmla="*/ 115658 w 361670"/>
                <a:gd name="connsiteY20" fmla="*/ 238122 h 361333"/>
                <a:gd name="connsiteX21" fmla="*/ 72845 w 361670"/>
                <a:gd name="connsiteY21" fmla="*/ 238122 h 361333"/>
                <a:gd name="connsiteX22" fmla="*/ 66455 w 361670"/>
                <a:gd name="connsiteY22" fmla="*/ 233015 h 361333"/>
                <a:gd name="connsiteX23" fmla="*/ 55593 w 361670"/>
                <a:gd name="connsiteY23" fmla="*/ 190881 h 361333"/>
                <a:gd name="connsiteX24" fmla="*/ 58788 w 361670"/>
                <a:gd name="connsiteY24" fmla="*/ 183859 h 361333"/>
                <a:gd name="connsiteX25" fmla="*/ 185947 w 361670"/>
                <a:gd name="connsiteY25" fmla="*/ 107889 h 361333"/>
                <a:gd name="connsiteX26" fmla="*/ 191698 w 361670"/>
                <a:gd name="connsiteY26" fmla="*/ 107251 h 361333"/>
                <a:gd name="connsiteX27" fmla="*/ 195532 w 361670"/>
                <a:gd name="connsiteY27" fmla="*/ 111720 h 361333"/>
                <a:gd name="connsiteX28" fmla="*/ 229399 w 361670"/>
                <a:gd name="connsiteY28" fmla="*/ 230462 h 361333"/>
                <a:gd name="connsiteX29" fmla="*/ 228121 w 361670"/>
                <a:gd name="connsiteY29" fmla="*/ 235569 h 361333"/>
                <a:gd name="connsiteX30" fmla="*/ 299688 w 361670"/>
                <a:gd name="connsiteY30" fmla="*/ 221524 h 361333"/>
                <a:gd name="connsiteX31" fmla="*/ 298410 w 361670"/>
                <a:gd name="connsiteY31" fmla="*/ 221524 h 361333"/>
                <a:gd name="connsiteX32" fmla="*/ 247291 w 361670"/>
                <a:gd name="connsiteY32" fmla="*/ 213225 h 361333"/>
                <a:gd name="connsiteX33" fmla="*/ 242178 w 361670"/>
                <a:gd name="connsiteY33" fmla="*/ 205564 h 361333"/>
                <a:gd name="connsiteX34" fmla="*/ 249846 w 361670"/>
                <a:gd name="connsiteY34" fmla="*/ 200457 h 361333"/>
                <a:gd name="connsiteX35" fmla="*/ 300966 w 361670"/>
                <a:gd name="connsiteY35" fmla="*/ 208756 h 361333"/>
                <a:gd name="connsiteX36" fmla="*/ 306078 w 361670"/>
                <a:gd name="connsiteY36" fmla="*/ 216417 h 361333"/>
                <a:gd name="connsiteX37" fmla="*/ 299688 w 361670"/>
                <a:gd name="connsiteY37" fmla="*/ 221524 h 361333"/>
                <a:gd name="connsiteX38" fmla="*/ 301605 w 361670"/>
                <a:gd name="connsiteY38" fmla="*/ 153216 h 361333"/>
                <a:gd name="connsiteX39" fmla="*/ 242178 w 361670"/>
                <a:gd name="connsiteY39" fmla="*/ 170452 h 361333"/>
                <a:gd name="connsiteX40" fmla="*/ 240261 w 361670"/>
                <a:gd name="connsiteY40" fmla="*/ 170452 h 361333"/>
                <a:gd name="connsiteX41" fmla="*/ 233872 w 361670"/>
                <a:gd name="connsiteY41" fmla="*/ 165984 h 361333"/>
                <a:gd name="connsiteX42" fmla="*/ 238345 w 361670"/>
                <a:gd name="connsiteY42" fmla="*/ 158323 h 361333"/>
                <a:gd name="connsiteX43" fmla="*/ 297771 w 361670"/>
                <a:gd name="connsiteY43" fmla="*/ 141086 h 361333"/>
                <a:gd name="connsiteX44" fmla="*/ 305439 w 361670"/>
                <a:gd name="connsiteY44" fmla="*/ 145555 h 361333"/>
                <a:gd name="connsiteX45" fmla="*/ 301605 w 361670"/>
                <a:gd name="connsiteY45" fmla="*/ 153216 h 36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61670" h="361333">
                  <a:moveTo>
                    <a:pt x="180835" y="0"/>
                  </a:moveTo>
                  <a:cubicBezTo>
                    <a:pt x="80513" y="0"/>
                    <a:pt x="0" y="81077"/>
                    <a:pt x="0" y="180667"/>
                  </a:cubicBezTo>
                  <a:cubicBezTo>
                    <a:pt x="0" y="280895"/>
                    <a:pt x="81152" y="361333"/>
                    <a:pt x="180835" y="361333"/>
                  </a:cubicBezTo>
                  <a:cubicBezTo>
                    <a:pt x="280518" y="361333"/>
                    <a:pt x="361670" y="280257"/>
                    <a:pt x="361670" y="180667"/>
                  </a:cubicBezTo>
                  <a:cubicBezTo>
                    <a:pt x="361670" y="81077"/>
                    <a:pt x="280518" y="0"/>
                    <a:pt x="180835" y="0"/>
                  </a:cubicBezTo>
                  <a:close/>
                  <a:moveTo>
                    <a:pt x="219175" y="125126"/>
                  </a:moveTo>
                  <a:lnTo>
                    <a:pt x="261348" y="91291"/>
                  </a:lnTo>
                  <a:cubicBezTo>
                    <a:pt x="263904" y="89376"/>
                    <a:pt x="268377" y="89376"/>
                    <a:pt x="270294" y="92568"/>
                  </a:cubicBezTo>
                  <a:cubicBezTo>
                    <a:pt x="272211" y="95121"/>
                    <a:pt x="272211" y="99590"/>
                    <a:pt x="269016" y="101505"/>
                  </a:cubicBezTo>
                  <a:lnTo>
                    <a:pt x="226843" y="135341"/>
                  </a:lnTo>
                  <a:cubicBezTo>
                    <a:pt x="225565" y="135979"/>
                    <a:pt x="224287" y="136617"/>
                    <a:pt x="223009" y="136617"/>
                  </a:cubicBezTo>
                  <a:cubicBezTo>
                    <a:pt x="221092" y="136617"/>
                    <a:pt x="219175" y="135979"/>
                    <a:pt x="217897" y="134064"/>
                  </a:cubicBezTo>
                  <a:cubicBezTo>
                    <a:pt x="215980" y="131510"/>
                    <a:pt x="216619" y="127680"/>
                    <a:pt x="219175" y="125126"/>
                  </a:cubicBezTo>
                  <a:close/>
                  <a:moveTo>
                    <a:pt x="228121" y="235569"/>
                  </a:moveTo>
                  <a:cubicBezTo>
                    <a:pt x="226843" y="236846"/>
                    <a:pt x="224926" y="238122"/>
                    <a:pt x="223009" y="238122"/>
                  </a:cubicBezTo>
                  <a:lnTo>
                    <a:pt x="223009" y="238122"/>
                  </a:lnTo>
                  <a:lnTo>
                    <a:pt x="178279" y="238122"/>
                  </a:lnTo>
                  <a:cubicBezTo>
                    <a:pt x="178279" y="238761"/>
                    <a:pt x="178918" y="239399"/>
                    <a:pt x="178918" y="240038"/>
                  </a:cubicBezTo>
                  <a:cubicBezTo>
                    <a:pt x="178918" y="257274"/>
                    <a:pt x="164860" y="271958"/>
                    <a:pt x="146969" y="271958"/>
                  </a:cubicBezTo>
                  <a:cubicBezTo>
                    <a:pt x="129077" y="271958"/>
                    <a:pt x="115019" y="257913"/>
                    <a:pt x="115019" y="240038"/>
                  </a:cubicBezTo>
                  <a:cubicBezTo>
                    <a:pt x="115019" y="239399"/>
                    <a:pt x="115019" y="238761"/>
                    <a:pt x="115658" y="238122"/>
                  </a:cubicBezTo>
                  <a:lnTo>
                    <a:pt x="72845" y="238122"/>
                  </a:lnTo>
                  <a:cubicBezTo>
                    <a:pt x="69650" y="238122"/>
                    <a:pt x="67094" y="236207"/>
                    <a:pt x="66455" y="233015"/>
                  </a:cubicBezTo>
                  <a:lnTo>
                    <a:pt x="55593" y="190881"/>
                  </a:lnTo>
                  <a:cubicBezTo>
                    <a:pt x="54953" y="188327"/>
                    <a:pt x="56231" y="185135"/>
                    <a:pt x="58788" y="183859"/>
                  </a:cubicBezTo>
                  <a:lnTo>
                    <a:pt x="185947" y="107889"/>
                  </a:lnTo>
                  <a:cubicBezTo>
                    <a:pt x="187864" y="106613"/>
                    <a:pt x="189781" y="106613"/>
                    <a:pt x="191698" y="107251"/>
                  </a:cubicBezTo>
                  <a:cubicBezTo>
                    <a:pt x="193615" y="107889"/>
                    <a:pt x="194893" y="109805"/>
                    <a:pt x="195532" y="111720"/>
                  </a:cubicBezTo>
                  <a:lnTo>
                    <a:pt x="229399" y="230462"/>
                  </a:lnTo>
                  <a:cubicBezTo>
                    <a:pt x="230038" y="232377"/>
                    <a:pt x="229399" y="234292"/>
                    <a:pt x="228121" y="235569"/>
                  </a:cubicBezTo>
                  <a:close/>
                  <a:moveTo>
                    <a:pt x="299688" y="221524"/>
                  </a:moveTo>
                  <a:cubicBezTo>
                    <a:pt x="299049" y="221524"/>
                    <a:pt x="299049" y="221524"/>
                    <a:pt x="298410" y="221524"/>
                  </a:cubicBezTo>
                  <a:lnTo>
                    <a:pt x="247291" y="213225"/>
                  </a:lnTo>
                  <a:cubicBezTo>
                    <a:pt x="244096" y="212587"/>
                    <a:pt x="241540" y="209395"/>
                    <a:pt x="242178" y="205564"/>
                  </a:cubicBezTo>
                  <a:cubicBezTo>
                    <a:pt x="242818" y="202372"/>
                    <a:pt x="246013" y="199819"/>
                    <a:pt x="249846" y="200457"/>
                  </a:cubicBezTo>
                  <a:lnTo>
                    <a:pt x="300966" y="208756"/>
                  </a:lnTo>
                  <a:cubicBezTo>
                    <a:pt x="304161" y="209395"/>
                    <a:pt x="306717" y="212587"/>
                    <a:pt x="306078" y="216417"/>
                  </a:cubicBezTo>
                  <a:cubicBezTo>
                    <a:pt x="305439" y="218971"/>
                    <a:pt x="302883" y="221524"/>
                    <a:pt x="299688" y="221524"/>
                  </a:cubicBezTo>
                  <a:close/>
                  <a:moveTo>
                    <a:pt x="301605" y="153216"/>
                  </a:moveTo>
                  <a:lnTo>
                    <a:pt x="242178" y="170452"/>
                  </a:lnTo>
                  <a:cubicBezTo>
                    <a:pt x="241540" y="170452"/>
                    <a:pt x="240901" y="170452"/>
                    <a:pt x="240261" y="170452"/>
                  </a:cubicBezTo>
                  <a:cubicBezTo>
                    <a:pt x="237706" y="170452"/>
                    <a:pt x="235150" y="168537"/>
                    <a:pt x="233872" y="165984"/>
                  </a:cubicBezTo>
                  <a:cubicBezTo>
                    <a:pt x="232593" y="162792"/>
                    <a:pt x="235150" y="158961"/>
                    <a:pt x="238345" y="158323"/>
                  </a:cubicBezTo>
                  <a:lnTo>
                    <a:pt x="297771" y="141086"/>
                  </a:lnTo>
                  <a:cubicBezTo>
                    <a:pt x="300966" y="140448"/>
                    <a:pt x="304800" y="142363"/>
                    <a:pt x="305439" y="145555"/>
                  </a:cubicBezTo>
                  <a:cubicBezTo>
                    <a:pt x="306717" y="148747"/>
                    <a:pt x="304800" y="152577"/>
                    <a:pt x="301605" y="153216"/>
                  </a:cubicBezTo>
                  <a:close/>
                </a:path>
              </a:pathLst>
            </a:custGeom>
            <a:grpFill/>
            <a:ln w="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endParaRPr>
            </a:p>
          </p:txBody>
        </p:sp>
      </p:grpSp>
      <p:sp>
        <p:nvSpPr>
          <p:cNvPr id="12" name="Rectangle 11">
            <a:extLst>
              <a:ext uri="{FF2B5EF4-FFF2-40B4-BE49-F238E27FC236}">
                <a16:creationId xmlns:a16="http://schemas.microsoft.com/office/drawing/2014/main" id="{B3EEDDE5-CDCD-D75D-275E-4511AA23CB45}"/>
              </a:ext>
            </a:extLst>
          </p:cNvPr>
          <p:cNvSpPr>
            <a:spLocks/>
          </p:cNvSpPr>
          <p:nvPr/>
        </p:nvSpPr>
        <p:spPr>
          <a:xfrm>
            <a:off x="731766" y="2200227"/>
            <a:ext cx="2896627" cy="1169551"/>
          </a:xfrm>
          <a:prstGeom prst="rect">
            <a:avLst/>
          </a:prstGeom>
        </p:spPr>
        <p:txBody>
          <a:bodyPr wrap="square">
            <a:spAutoFit/>
          </a:bodyPr>
          <a:lstStyle/>
          <a:p>
            <a:pPr lvl="0"/>
            <a:r>
              <a:rPr lang="en-US" sz="1400" b="1" dirty="0">
                <a:solidFill>
                  <a:prstClr val="black"/>
                </a:solidFill>
              </a:rPr>
              <a:t>Plan for catastrophic scenarios</a:t>
            </a:r>
          </a:p>
          <a:p>
            <a:pPr marL="285750" lvl="0" indent="-285750">
              <a:buFont typeface="Arial" panose="020B0604020202020204" pitchFamily="34" charset="0"/>
              <a:buChar char="•"/>
            </a:pPr>
            <a:r>
              <a:rPr lang="en-US" sz="1400" dirty="0">
                <a:solidFill>
                  <a:prstClr val="black"/>
                </a:solidFill>
              </a:rPr>
              <a:t>Include catastrophic scenarios in existing plans or create new ones</a:t>
            </a:r>
          </a:p>
          <a:p>
            <a:pPr marL="285750" lvl="0" indent="-285750">
              <a:buFont typeface="Arial" panose="020B0604020202020204" pitchFamily="34" charset="0"/>
              <a:buChar char="•"/>
            </a:pPr>
            <a:r>
              <a:rPr lang="en-US" sz="1400" dirty="0">
                <a:solidFill>
                  <a:prstClr val="black"/>
                </a:solidFill>
              </a:rPr>
              <a:t>Understand baseline capabilities and identify gaps</a:t>
            </a:r>
          </a:p>
        </p:txBody>
      </p:sp>
      <p:sp>
        <p:nvSpPr>
          <p:cNvPr id="32" name="Rectangle 31">
            <a:extLst>
              <a:ext uri="{FF2B5EF4-FFF2-40B4-BE49-F238E27FC236}">
                <a16:creationId xmlns:a16="http://schemas.microsoft.com/office/drawing/2014/main" id="{8EB1C08A-02E0-5355-4895-521A903BB1B2}"/>
              </a:ext>
            </a:extLst>
          </p:cNvPr>
          <p:cNvSpPr>
            <a:spLocks/>
          </p:cNvSpPr>
          <p:nvPr/>
        </p:nvSpPr>
        <p:spPr>
          <a:xfrm>
            <a:off x="7377520" y="2200227"/>
            <a:ext cx="4074156" cy="1169551"/>
          </a:xfrm>
          <a:prstGeom prst="rect">
            <a:avLst/>
          </a:prstGeom>
        </p:spPr>
        <p:txBody>
          <a:bodyPr wrap="square">
            <a:spAutoFit/>
          </a:bodyPr>
          <a:lstStyle/>
          <a:p>
            <a:pPr lvl="0"/>
            <a:r>
              <a:rPr lang="en-US" sz="1400" b="1" dirty="0">
                <a:solidFill>
                  <a:prstClr val="black"/>
                </a:solidFill>
              </a:rPr>
              <a:t>Understand MVC dependencies</a:t>
            </a:r>
          </a:p>
          <a:p>
            <a:pPr marL="285750" lvl="0" indent="-285750">
              <a:buFont typeface="Arial" panose="020B0604020202020204" pitchFamily="34" charset="0"/>
              <a:buChar char="•"/>
            </a:pPr>
            <a:r>
              <a:rPr kumimoji="0" lang="en-US" sz="1400" b="0" i="0" u="none" strike="noStrike" kern="1200" cap="none" spc="0" normalizeH="0" baseline="0" noProof="0" dirty="0">
                <a:ln>
                  <a:noFill/>
                </a:ln>
                <a:solidFill>
                  <a:prstClr val="black"/>
                </a:solidFill>
                <a:effectLst/>
                <a:uLnTx/>
                <a:uFillTx/>
                <a:ea typeface="+mn-ea"/>
                <a:cs typeface="+mn-cs"/>
              </a:rPr>
              <a:t>Map underlying applications, infrastructure, and data to identify dependencies that enable recovery of important business services</a:t>
            </a:r>
          </a:p>
          <a:p>
            <a:pPr marL="285750" lvl="0" indent="-285750">
              <a:buFont typeface="Arial" panose="020B0604020202020204" pitchFamily="34" charset="0"/>
              <a:buChar char="•"/>
            </a:pPr>
            <a:r>
              <a:rPr lang="en-US" sz="1400" dirty="0">
                <a:solidFill>
                  <a:prstClr val="black"/>
                </a:solidFill>
              </a:rPr>
              <a:t>Identify additional risks and single points of failure</a:t>
            </a:r>
            <a:endParaRPr kumimoji="0" lang="en-US" sz="1400" b="0" i="0" u="none" strike="noStrike" kern="1200" cap="none" spc="0" normalizeH="0" baseline="0" noProof="0" dirty="0">
              <a:ln>
                <a:noFill/>
              </a:ln>
              <a:solidFill>
                <a:prstClr val="black"/>
              </a:solidFill>
              <a:effectLst/>
              <a:uLnTx/>
              <a:uFillTx/>
              <a:ea typeface="+mn-ea"/>
              <a:cs typeface="+mn-cs"/>
            </a:endParaRPr>
          </a:p>
        </p:txBody>
      </p:sp>
      <p:sp>
        <p:nvSpPr>
          <p:cNvPr id="33" name="Rectangle 32">
            <a:extLst>
              <a:ext uri="{FF2B5EF4-FFF2-40B4-BE49-F238E27FC236}">
                <a16:creationId xmlns:a16="http://schemas.microsoft.com/office/drawing/2014/main" id="{B09E8C66-4439-912E-4D51-20E751DC2D13}"/>
              </a:ext>
            </a:extLst>
          </p:cNvPr>
          <p:cNvSpPr>
            <a:spLocks/>
          </p:cNvSpPr>
          <p:nvPr/>
        </p:nvSpPr>
        <p:spPr>
          <a:xfrm>
            <a:off x="5485458" y="5432665"/>
            <a:ext cx="3458843" cy="1169551"/>
          </a:xfrm>
          <a:prstGeom prst="rect">
            <a:avLst/>
          </a:prstGeom>
        </p:spPr>
        <p:txBody>
          <a:bodyPr wrap="square">
            <a:spAutoFit/>
          </a:bodyPr>
          <a:lstStyle/>
          <a:p>
            <a:pPr lvl="0"/>
            <a:r>
              <a:rPr lang="en-US" sz="1400" b="1" dirty="0">
                <a:solidFill>
                  <a:prstClr val="black"/>
                </a:solidFill>
              </a:rPr>
              <a:t>Develop recovery processes</a:t>
            </a:r>
          </a:p>
          <a:p>
            <a:pPr marL="285750" lvl="0" indent="-285750">
              <a:buFont typeface="Arial" panose="020B0604020202020204" pitchFamily="34" charset="0"/>
              <a:buChar char="•"/>
            </a:pPr>
            <a:r>
              <a:rPr lang="en-US" sz="1400" dirty="0">
                <a:solidFill>
                  <a:prstClr val="black"/>
                </a:solidFill>
              </a:rPr>
              <a:t>Enhance recovery playbooks to document recovery processes and sequence</a:t>
            </a:r>
          </a:p>
          <a:p>
            <a:pPr marL="285750" lvl="0" indent="-285750">
              <a:buFont typeface="Arial" panose="020B0604020202020204" pitchFamily="34" charset="0"/>
              <a:buChar char="•"/>
            </a:pPr>
            <a:r>
              <a:rPr lang="en-US" sz="1400" dirty="0">
                <a:solidFill>
                  <a:prstClr val="black"/>
                </a:solidFill>
              </a:rPr>
              <a:t>Achieve optimisation through robust testing</a:t>
            </a:r>
          </a:p>
        </p:txBody>
      </p:sp>
      <p:sp>
        <p:nvSpPr>
          <p:cNvPr id="34" name="Rectangle 33">
            <a:extLst>
              <a:ext uri="{FF2B5EF4-FFF2-40B4-BE49-F238E27FC236}">
                <a16:creationId xmlns:a16="http://schemas.microsoft.com/office/drawing/2014/main" id="{9DD7DA76-8EF2-1A36-6DB8-20F81523DC5C}"/>
              </a:ext>
            </a:extLst>
          </p:cNvPr>
          <p:cNvSpPr>
            <a:spLocks/>
          </p:cNvSpPr>
          <p:nvPr/>
        </p:nvSpPr>
        <p:spPr>
          <a:xfrm>
            <a:off x="4054643" y="2200227"/>
            <a:ext cx="2896627" cy="1169551"/>
          </a:xfrm>
          <a:prstGeom prst="rect">
            <a:avLst/>
          </a:prstGeom>
        </p:spPr>
        <p:txBody>
          <a:bodyPr wrap="square">
            <a:spAutoFit/>
          </a:bodyPr>
          <a:lstStyle/>
          <a:p>
            <a:pPr lvl="0"/>
            <a:r>
              <a:rPr lang="en-US" sz="1400" b="1" dirty="0">
                <a:solidFill>
                  <a:prstClr val="black"/>
                </a:solidFill>
              </a:rPr>
              <a:t>Identify the Minimum Viable Company (MVC)</a:t>
            </a:r>
          </a:p>
          <a:p>
            <a:pPr marL="285750" lvl="0" indent="-285750">
              <a:buFont typeface="Arial" panose="020B0604020202020204" pitchFamily="34" charset="0"/>
              <a:buChar char="•"/>
            </a:pPr>
            <a:r>
              <a:rPr lang="en-US" sz="1400" dirty="0">
                <a:solidFill>
                  <a:prstClr val="black"/>
                </a:solidFill>
              </a:rPr>
              <a:t>Assess key services required to maintain core operations</a:t>
            </a:r>
          </a:p>
          <a:p>
            <a:pPr marL="285750" lvl="0" indent="-285750" algn="ctr">
              <a:buFont typeface="Arial" panose="020B0604020202020204" pitchFamily="34" charset="0"/>
              <a:buChar char="•"/>
            </a:pPr>
            <a:endParaRPr lang="en-US" sz="1400" dirty="0">
              <a:solidFill>
                <a:prstClr val="black"/>
              </a:solidFill>
            </a:endParaRPr>
          </a:p>
        </p:txBody>
      </p:sp>
      <p:sp>
        <p:nvSpPr>
          <p:cNvPr id="35" name="Rectangle 34">
            <a:extLst>
              <a:ext uri="{FF2B5EF4-FFF2-40B4-BE49-F238E27FC236}">
                <a16:creationId xmlns:a16="http://schemas.microsoft.com/office/drawing/2014/main" id="{8A460461-FA73-C868-90B2-75D7657D4D7C}"/>
              </a:ext>
            </a:extLst>
          </p:cNvPr>
          <p:cNvSpPr>
            <a:spLocks/>
          </p:cNvSpPr>
          <p:nvPr/>
        </p:nvSpPr>
        <p:spPr>
          <a:xfrm>
            <a:off x="2194943" y="5432665"/>
            <a:ext cx="3157860" cy="1169551"/>
          </a:xfrm>
          <a:prstGeom prst="rect">
            <a:avLst/>
          </a:prstGeom>
        </p:spPr>
        <p:txBody>
          <a:bodyPr wrap="square">
            <a:spAutoFit/>
          </a:bodyPr>
          <a:lstStyle/>
          <a:p>
            <a:pPr lvl="0"/>
            <a:r>
              <a:rPr lang="en-US" sz="1400" b="1" dirty="0">
                <a:solidFill>
                  <a:prstClr val="black"/>
                </a:solidFill>
              </a:rPr>
              <a:t>Build a critical materials vault</a:t>
            </a:r>
          </a:p>
          <a:p>
            <a:pPr marL="285750" lvl="0" indent="-285750">
              <a:buFont typeface="Arial" panose="020B0604020202020204" pitchFamily="34" charset="0"/>
              <a:buChar char="•"/>
            </a:pPr>
            <a:r>
              <a:rPr lang="en-US" sz="1400" dirty="0">
                <a:solidFill>
                  <a:prstClr val="black"/>
                </a:solidFill>
              </a:rPr>
              <a:t>Store critical data in an isolated, immutable and intelligent vault</a:t>
            </a:r>
          </a:p>
          <a:p>
            <a:pPr marL="285750" lvl="0" indent="-285750">
              <a:buFont typeface="Arial" panose="020B0604020202020204" pitchFamily="34" charset="0"/>
              <a:buChar char="•"/>
            </a:pPr>
            <a:r>
              <a:rPr lang="en-US" sz="1400" dirty="0">
                <a:solidFill>
                  <a:prstClr val="black"/>
                </a:solidFill>
              </a:rPr>
              <a:t>Create recovery zones and clean rooms to increase recovery efficiency</a:t>
            </a:r>
          </a:p>
        </p:txBody>
      </p:sp>
      <p:sp>
        <p:nvSpPr>
          <p:cNvPr id="583" name="Rectangle 582">
            <a:extLst>
              <a:ext uri="{FF2B5EF4-FFF2-40B4-BE49-F238E27FC236}">
                <a16:creationId xmlns:a16="http://schemas.microsoft.com/office/drawing/2014/main" id="{CE09229B-12FB-FA9E-EB0F-A2FEBA2359EA}"/>
              </a:ext>
            </a:extLst>
          </p:cNvPr>
          <p:cNvSpPr>
            <a:spLocks/>
          </p:cNvSpPr>
          <p:nvPr/>
        </p:nvSpPr>
        <p:spPr>
          <a:xfrm>
            <a:off x="9076955" y="5432665"/>
            <a:ext cx="2682988" cy="954107"/>
          </a:xfrm>
          <a:prstGeom prst="rect">
            <a:avLst/>
          </a:prstGeom>
        </p:spPr>
        <p:txBody>
          <a:bodyPr wrap="square">
            <a:spAutoFit/>
          </a:bodyPr>
          <a:lstStyle/>
          <a:p>
            <a:pPr lvl="0"/>
            <a:r>
              <a:rPr lang="en-US" sz="1400" b="1" dirty="0">
                <a:solidFill>
                  <a:prstClr val="black"/>
                </a:solidFill>
              </a:rPr>
              <a:t>Identify manual workarounds</a:t>
            </a:r>
          </a:p>
          <a:p>
            <a:pPr marL="285750" lvl="0" indent="-285750">
              <a:buFont typeface="Arial" panose="020B0604020202020204" pitchFamily="34" charset="0"/>
              <a:buChar char="•"/>
            </a:pPr>
            <a:r>
              <a:rPr lang="en-US" sz="1400" dirty="0">
                <a:solidFill>
                  <a:prstClr val="black"/>
                </a:solidFill>
              </a:rPr>
              <a:t>Able to perform minimal critical tasks even during technology disruptions</a:t>
            </a:r>
          </a:p>
        </p:txBody>
      </p:sp>
      <p:grpSp>
        <p:nvGrpSpPr>
          <p:cNvPr id="14" name="Group 13">
            <a:extLst>
              <a:ext uri="{FF2B5EF4-FFF2-40B4-BE49-F238E27FC236}">
                <a16:creationId xmlns:a16="http://schemas.microsoft.com/office/drawing/2014/main" id="{88572B86-424E-8CA8-1189-E2DAD530D21B}"/>
              </a:ext>
            </a:extLst>
          </p:cNvPr>
          <p:cNvGrpSpPr/>
          <p:nvPr/>
        </p:nvGrpSpPr>
        <p:grpSpPr>
          <a:xfrm>
            <a:off x="2364586" y="3518754"/>
            <a:ext cx="6216548" cy="1711417"/>
            <a:chOff x="751586" y="2271014"/>
            <a:chExt cx="6609396" cy="2121408"/>
          </a:xfrm>
        </p:grpSpPr>
        <p:sp>
          <p:nvSpPr>
            <p:cNvPr id="594" name="Hexagon 10">
              <a:extLst>
                <a:ext uri="{FF2B5EF4-FFF2-40B4-BE49-F238E27FC236}">
                  <a16:creationId xmlns:a16="http://schemas.microsoft.com/office/drawing/2014/main" id="{0AB4C5B7-4803-FE74-6D27-ACDCE91764C6}"/>
                </a:ext>
              </a:extLst>
            </p:cNvPr>
            <p:cNvSpPr/>
            <p:nvPr/>
          </p:nvSpPr>
          <p:spPr bwMode="gray">
            <a:xfrm rot="5400000">
              <a:off x="658336"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1"/>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595" name="Hexagon 10">
              <a:extLst>
                <a:ext uri="{FF2B5EF4-FFF2-40B4-BE49-F238E27FC236}">
                  <a16:creationId xmlns:a16="http://schemas.microsoft.com/office/drawing/2014/main" id="{C8551F04-42D8-7D2F-C1C2-923FAAB12BF1}"/>
                </a:ext>
              </a:extLst>
            </p:cNvPr>
            <p:cNvSpPr/>
            <p:nvPr/>
          </p:nvSpPr>
          <p:spPr bwMode="gray">
            <a:xfrm rot="5400000" flipH="1">
              <a:off x="2015648"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A3E0"/>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596" name="Hexagon 10">
              <a:extLst>
                <a:ext uri="{FF2B5EF4-FFF2-40B4-BE49-F238E27FC236}">
                  <a16:creationId xmlns:a16="http://schemas.microsoft.com/office/drawing/2014/main" id="{6F357CDC-E900-00D8-4FA3-4111E3B2C90F}"/>
                </a:ext>
              </a:extLst>
            </p:cNvPr>
            <p:cNvSpPr/>
            <p:nvPr/>
          </p:nvSpPr>
          <p:spPr bwMode="gray">
            <a:xfrm rot="5400000">
              <a:off x="3349148"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09A44"/>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597" name="Hexagon 10">
              <a:extLst>
                <a:ext uri="{FF2B5EF4-FFF2-40B4-BE49-F238E27FC236}">
                  <a16:creationId xmlns:a16="http://schemas.microsoft.com/office/drawing/2014/main" id="{3F193EAC-4A56-29E6-5420-C6BD5FDA00BA}"/>
                </a:ext>
              </a:extLst>
            </p:cNvPr>
            <p:cNvSpPr/>
            <p:nvPr/>
          </p:nvSpPr>
          <p:spPr bwMode="gray">
            <a:xfrm rot="5400000" flipH="1">
              <a:off x="4706460" y="3071400"/>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6">
                  <a:lumMod val="50000"/>
                </a:schemeClr>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598" name="Hexagon 10">
              <a:extLst>
                <a:ext uri="{FF2B5EF4-FFF2-40B4-BE49-F238E27FC236}">
                  <a16:creationId xmlns:a16="http://schemas.microsoft.com/office/drawing/2014/main" id="{27137ECF-00F1-5165-77E8-EFF62FE2E323}"/>
                </a:ext>
              </a:extLst>
            </p:cNvPr>
            <p:cNvSpPr/>
            <p:nvPr/>
          </p:nvSpPr>
          <p:spPr bwMode="gray">
            <a:xfrm rot="5400000">
              <a:off x="6039960" y="2364264"/>
              <a:ext cx="1414272" cy="1227772"/>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chemeClr val="accent5"/>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grpSp>
      <p:sp>
        <p:nvSpPr>
          <p:cNvPr id="15" name="Hexagon 14">
            <a:extLst>
              <a:ext uri="{FF2B5EF4-FFF2-40B4-BE49-F238E27FC236}">
                <a16:creationId xmlns:a16="http://schemas.microsoft.com/office/drawing/2014/main" id="{647BB17C-6A34-BF0A-F133-FA3F0956B86F}"/>
              </a:ext>
            </a:extLst>
          </p:cNvPr>
          <p:cNvSpPr/>
          <p:nvPr/>
        </p:nvSpPr>
        <p:spPr bwMode="gray">
          <a:xfrm rot="16200000">
            <a:off x="2456073" y="3609392"/>
            <a:ext cx="962650" cy="967534"/>
          </a:xfrm>
          <a:prstGeom prst="hexagon">
            <a:avLst/>
          </a:prstGeom>
          <a:solidFill>
            <a:schemeClr val="accent1">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6" name="Hexagon 15">
            <a:extLst>
              <a:ext uri="{FF2B5EF4-FFF2-40B4-BE49-F238E27FC236}">
                <a16:creationId xmlns:a16="http://schemas.microsoft.com/office/drawing/2014/main" id="{DE2E1E83-72E6-5703-8765-25FE736DAF72}"/>
              </a:ext>
            </a:extLst>
          </p:cNvPr>
          <p:cNvSpPr/>
          <p:nvPr/>
        </p:nvSpPr>
        <p:spPr bwMode="gray">
          <a:xfrm rot="16200000">
            <a:off x="3737295" y="4175931"/>
            <a:ext cx="962650" cy="967534"/>
          </a:xfrm>
          <a:prstGeom prst="hexagon">
            <a:avLst/>
          </a:prstGeom>
          <a:solidFill>
            <a:schemeClr val="accent5">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7" name="Hexagon 16">
            <a:extLst>
              <a:ext uri="{FF2B5EF4-FFF2-40B4-BE49-F238E27FC236}">
                <a16:creationId xmlns:a16="http://schemas.microsoft.com/office/drawing/2014/main" id="{76B8FBB1-3F5B-C10D-2FBA-80541ABB4341}"/>
              </a:ext>
            </a:extLst>
          </p:cNvPr>
          <p:cNvSpPr/>
          <p:nvPr/>
        </p:nvSpPr>
        <p:spPr bwMode="gray">
          <a:xfrm rot="16200000">
            <a:off x="4991534" y="3605458"/>
            <a:ext cx="962650" cy="967534"/>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18" name="Hexagon 17">
            <a:extLst>
              <a:ext uri="{FF2B5EF4-FFF2-40B4-BE49-F238E27FC236}">
                <a16:creationId xmlns:a16="http://schemas.microsoft.com/office/drawing/2014/main" id="{E5D50647-F3DA-0E83-66FA-3A243CA2440C}"/>
              </a:ext>
            </a:extLst>
          </p:cNvPr>
          <p:cNvSpPr/>
          <p:nvPr/>
        </p:nvSpPr>
        <p:spPr bwMode="gray">
          <a:xfrm rot="16200000">
            <a:off x="6268171" y="4175931"/>
            <a:ext cx="962650" cy="967534"/>
          </a:xfrm>
          <a:prstGeom prst="hexagon">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9" name="Hexagon 18">
            <a:extLst>
              <a:ext uri="{FF2B5EF4-FFF2-40B4-BE49-F238E27FC236}">
                <a16:creationId xmlns:a16="http://schemas.microsoft.com/office/drawing/2014/main" id="{8090D149-396D-B9E2-CDA7-8AF83D052EDB}"/>
              </a:ext>
            </a:extLst>
          </p:cNvPr>
          <p:cNvSpPr/>
          <p:nvPr/>
        </p:nvSpPr>
        <p:spPr bwMode="gray">
          <a:xfrm rot="16200000">
            <a:off x="7522411" y="3605459"/>
            <a:ext cx="962650" cy="967534"/>
          </a:xfrm>
          <a:prstGeom prst="hexagon">
            <a:avLst/>
          </a:prstGeom>
          <a:solidFill>
            <a:srgbClr val="DDEFE8"/>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cxnSp>
        <p:nvCxnSpPr>
          <p:cNvPr id="591" name="Straight Connector 590">
            <a:extLst>
              <a:ext uri="{FF2B5EF4-FFF2-40B4-BE49-F238E27FC236}">
                <a16:creationId xmlns:a16="http://schemas.microsoft.com/office/drawing/2014/main" id="{9732F640-B839-E1B6-5622-E3D0A6EDD166}"/>
              </a:ext>
            </a:extLst>
          </p:cNvPr>
          <p:cNvCxnSpPr>
            <a:cxnSpLocks/>
          </p:cNvCxnSpPr>
          <p:nvPr/>
        </p:nvCxnSpPr>
        <p:spPr>
          <a:xfrm flipH="1" flipV="1">
            <a:off x="2932814" y="3363011"/>
            <a:ext cx="555" cy="159675"/>
          </a:xfrm>
          <a:prstGeom prst="line">
            <a:avLst/>
          </a:prstGeom>
          <a:ln>
            <a:solidFill>
              <a:srgbClr val="86BC25"/>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592" name="Straight Connector 591">
            <a:extLst>
              <a:ext uri="{FF2B5EF4-FFF2-40B4-BE49-F238E27FC236}">
                <a16:creationId xmlns:a16="http://schemas.microsoft.com/office/drawing/2014/main" id="{344DD00D-604A-27F1-C832-A66D2B03BBE4}"/>
              </a:ext>
            </a:extLst>
          </p:cNvPr>
          <p:cNvCxnSpPr>
            <a:cxnSpLocks/>
          </p:cNvCxnSpPr>
          <p:nvPr/>
        </p:nvCxnSpPr>
        <p:spPr>
          <a:xfrm flipH="1" flipV="1">
            <a:off x="5468580" y="3363011"/>
            <a:ext cx="555" cy="159675"/>
          </a:xfrm>
          <a:prstGeom prst="line">
            <a:avLst/>
          </a:prstGeom>
          <a:ln>
            <a:solidFill>
              <a:srgbClr val="009A44"/>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593" name="Straight Connector 592">
            <a:extLst>
              <a:ext uri="{FF2B5EF4-FFF2-40B4-BE49-F238E27FC236}">
                <a16:creationId xmlns:a16="http://schemas.microsoft.com/office/drawing/2014/main" id="{D76B1855-D20D-C046-4256-C1690A839BF5}"/>
              </a:ext>
            </a:extLst>
          </p:cNvPr>
          <p:cNvCxnSpPr>
            <a:cxnSpLocks/>
          </p:cNvCxnSpPr>
          <p:nvPr/>
        </p:nvCxnSpPr>
        <p:spPr>
          <a:xfrm flipH="1" flipV="1">
            <a:off x="8004347" y="3363011"/>
            <a:ext cx="555" cy="159675"/>
          </a:xfrm>
          <a:prstGeom prst="line">
            <a:avLst/>
          </a:prstGeom>
          <a:ln>
            <a:solidFill>
              <a:srgbClr val="0D8390"/>
            </a:solidFill>
            <a:prstDash val="sysDot"/>
            <a:tailEnd type="diamond"/>
          </a:ln>
        </p:spPr>
        <p:style>
          <a:lnRef idx="1">
            <a:schemeClr val="accent1"/>
          </a:lnRef>
          <a:fillRef idx="0">
            <a:schemeClr val="accent1"/>
          </a:fillRef>
          <a:effectRef idx="0">
            <a:schemeClr val="accent1"/>
          </a:effectRef>
          <a:fontRef idx="minor">
            <a:schemeClr val="tx1"/>
          </a:fontRef>
        </p:style>
      </p:cxnSp>
      <p:sp>
        <p:nvSpPr>
          <p:cNvPr id="29" name="Hexagon 58">
            <a:extLst>
              <a:ext uri="{FF2B5EF4-FFF2-40B4-BE49-F238E27FC236}">
                <a16:creationId xmlns:a16="http://schemas.microsoft.com/office/drawing/2014/main" id="{B4FDA085-0511-F0CE-BA74-B6B17DB836C8}"/>
              </a:ext>
            </a:extLst>
          </p:cNvPr>
          <p:cNvSpPr/>
          <p:nvPr/>
        </p:nvSpPr>
        <p:spPr bwMode="gray">
          <a:xfrm rot="16200000">
            <a:off x="2816467" y="4072938"/>
            <a:ext cx="251037" cy="1170717"/>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30" name="Hexagon 58">
            <a:extLst>
              <a:ext uri="{FF2B5EF4-FFF2-40B4-BE49-F238E27FC236}">
                <a16:creationId xmlns:a16="http://schemas.microsoft.com/office/drawing/2014/main" id="{A7B20D01-086E-90A6-5419-B834685FEC53}"/>
              </a:ext>
            </a:extLst>
          </p:cNvPr>
          <p:cNvSpPr/>
          <p:nvPr/>
        </p:nvSpPr>
        <p:spPr bwMode="gray">
          <a:xfrm rot="16200000">
            <a:off x="5342697" y="4069004"/>
            <a:ext cx="251037" cy="1170717"/>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31" name="Hexagon 58">
            <a:extLst>
              <a:ext uri="{FF2B5EF4-FFF2-40B4-BE49-F238E27FC236}">
                <a16:creationId xmlns:a16="http://schemas.microsoft.com/office/drawing/2014/main" id="{E4B3B9BF-1888-BF80-9C18-0E7A017F5BD3}"/>
              </a:ext>
            </a:extLst>
          </p:cNvPr>
          <p:cNvSpPr/>
          <p:nvPr/>
        </p:nvSpPr>
        <p:spPr bwMode="gray">
          <a:xfrm rot="16200000">
            <a:off x="7868926" y="4065071"/>
            <a:ext cx="251037" cy="1170717"/>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584" name="Hexagon 58">
            <a:extLst>
              <a:ext uri="{FF2B5EF4-FFF2-40B4-BE49-F238E27FC236}">
                <a16:creationId xmlns:a16="http://schemas.microsoft.com/office/drawing/2014/main" id="{83E18BCD-D5DB-CD64-BA41-83B84BEE8FA4}"/>
              </a:ext>
            </a:extLst>
          </p:cNvPr>
          <p:cNvSpPr/>
          <p:nvPr/>
        </p:nvSpPr>
        <p:spPr bwMode="gray">
          <a:xfrm rot="5400000" flipV="1">
            <a:off x="6603730" y="3492336"/>
            <a:ext cx="251037" cy="1170717"/>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585" name="Hexagon 58">
            <a:extLst>
              <a:ext uri="{FF2B5EF4-FFF2-40B4-BE49-F238E27FC236}">
                <a16:creationId xmlns:a16="http://schemas.microsoft.com/office/drawing/2014/main" id="{740C511D-0A95-4CB0-5132-FF40E2E7D977}"/>
              </a:ext>
            </a:extLst>
          </p:cNvPr>
          <p:cNvSpPr/>
          <p:nvPr/>
        </p:nvSpPr>
        <p:spPr bwMode="gray">
          <a:xfrm rot="5400000" flipV="1">
            <a:off x="4090953" y="3503867"/>
            <a:ext cx="251037" cy="1170717"/>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586" name="Hexagon 10">
            <a:extLst>
              <a:ext uri="{FF2B5EF4-FFF2-40B4-BE49-F238E27FC236}">
                <a16:creationId xmlns:a16="http://schemas.microsoft.com/office/drawing/2014/main" id="{DFB2A1F5-9472-83C4-E143-13C4B8B1DF90}"/>
              </a:ext>
            </a:extLst>
          </p:cNvPr>
          <p:cNvSpPr/>
          <p:nvPr/>
        </p:nvSpPr>
        <p:spPr bwMode="gray">
          <a:xfrm rot="5400000" flipH="1">
            <a:off x="8687503" y="4066143"/>
            <a:ext cx="1140944" cy="1154796"/>
          </a:xfrm>
          <a:custGeom>
            <a:avLst/>
            <a:gdLst>
              <a:gd name="connsiteX0" fmla="*/ 0 w 1414272"/>
              <a:gd name="connsiteY0" fmla="*/ 609600 h 1219200"/>
              <a:gd name="connsiteX1" fmla="*/ 304800 w 1414272"/>
              <a:gd name="connsiteY1" fmla="*/ 0 h 1219200"/>
              <a:gd name="connsiteX2" fmla="*/ 1109472 w 1414272"/>
              <a:gd name="connsiteY2" fmla="*/ 0 h 1219200"/>
              <a:gd name="connsiteX3" fmla="*/ 1414272 w 1414272"/>
              <a:gd name="connsiteY3" fmla="*/ 609600 h 1219200"/>
              <a:gd name="connsiteX4" fmla="*/ 1109472 w 1414272"/>
              <a:gd name="connsiteY4" fmla="*/ 1219200 h 1219200"/>
              <a:gd name="connsiteX5" fmla="*/ 304800 w 1414272"/>
              <a:gd name="connsiteY5" fmla="*/ 1219200 h 1219200"/>
              <a:gd name="connsiteX6" fmla="*/ 0 w 1414272"/>
              <a:gd name="connsiteY6" fmla="*/ 609600 h 1219200"/>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1200912 w 1414272"/>
              <a:gd name="connsiteY6" fmla="*/ 91440 h 1219200"/>
              <a:gd name="connsiteX0" fmla="*/ 1109472 w 1414272"/>
              <a:gd name="connsiteY0" fmla="*/ 13335 h 1232535"/>
              <a:gd name="connsiteX1" fmla="*/ 1414272 w 1414272"/>
              <a:gd name="connsiteY1" fmla="*/ 622935 h 1232535"/>
              <a:gd name="connsiteX2" fmla="*/ 1109472 w 1414272"/>
              <a:gd name="connsiteY2" fmla="*/ 1232535 h 1232535"/>
              <a:gd name="connsiteX3" fmla="*/ 304800 w 1414272"/>
              <a:gd name="connsiteY3" fmla="*/ 1232535 h 1232535"/>
              <a:gd name="connsiteX4" fmla="*/ 0 w 1414272"/>
              <a:gd name="connsiteY4" fmla="*/ 622935 h 1232535"/>
              <a:gd name="connsiteX5" fmla="*/ 304800 w 1414272"/>
              <a:gd name="connsiteY5" fmla="*/ 13335 h 1232535"/>
              <a:gd name="connsiteX6" fmla="*/ 958024 w 1414272"/>
              <a:gd name="connsiteY6" fmla="*/ 0 h 1232535"/>
              <a:gd name="connsiteX0" fmla="*/ 1109472 w 1414272"/>
              <a:gd name="connsiteY0" fmla="*/ 0 h 1219200"/>
              <a:gd name="connsiteX1" fmla="*/ 1414272 w 1414272"/>
              <a:gd name="connsiteY1" fmla="*/ 609600 h 1219200"/>
              <a:gd name="connsiteX2" fmla="*/ 1109472 w 1414272"/>
              <a:gd name="connsiteY2" fmla="*/ 1219200 h 1219200"/>
              <a:gd name="connsiteX3" fmla="*/ 304800 w 1414272"/>
              <a:gd name="connsiteY3" fmla="*/ 1219200 h 1219200"/>
              <a:gd name="connsiteX4" fmla="*/ 0 w 1414272"/>
              <a:gd name="connsiteY4" fmla="*/ 609600 h 1219200"/>
              <a:gd name="connsiteX5" fmla="*/ 304800 w 1414272"/>
              <a:gd name="connsiteY5" fmla="*/ 0 h 1219200"/>
              <a:gd name="connsiteX6" fmla="*/ 858015 w 1414272"/>
              <a:gd name="connsiteY6" fmla="*/ 10478 h 1219200"/>
              <a:gd name="connsiteX0" fmla="*/ 1109472 w 1414272"/>
              <a:gd name="connsiteY0" fmla="*/ 8572 h 1227772"/>
              <a:gd name="connsiteX1" fmla="*/ 1414272 w 1414272"/>
              <a:gd name="connsiteY1" fmla="*/ 618172 h 1227772"/>
              <a:gd name="connsiteX2" fmla="*/ 1109472 w 1414272"/>
              <a:gd name="connsiteY2" fmla="*/ 1227772 h 1227772"/>
              <a:gd name="connsiteX3" fmla="*/ 304800 w 1414272"/>
              <a:gd name="connsiteY3" fmla="*/ 1227772 h 1227772"/>
              <a:gd name="connsiteX4" fmla="*/ 0 w 1414272"/>
              <a:gd name="connsiteY4" fmla="*/ 618172 h 1227772"/>
              <a:gd name="connsiteX5" fmla="*/ 304800 w 1414272"/>
              <a:gd name="connsiteY5" fmla="*/ 8572 h 1227772"/>
              <a:gd name="connsiteX6" fmla="*/ 848490 w 1414272"/>
              <a:gd name="connsiteY6" fmla="*/ 0 h 1227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4272" h="1227772">
                <a:moveTo>
                  <a:pt x="1109472" y="8572"/>
                </a:moveTo>
                <a:lnTo>
                  <a:pt x="1414272" y="618172"/>
                </a:lnTo>
                <a:lnTo>
                  <a:pt x="1109472" y="1227772"/>
                </a:lnTo>
                <a:lnTo>
                  <a:pt x="304800" y="1227772"/>
                </a:lnTo>
                <a:lnTo>
                  <a:pt x="0" y="618172"/>
                </a:lnTo>
                <a:lnTo>
                  <a:pt x="304800" y="8572"/>
                </a:lnTo>
                <a:cubicBezTo>
                  <a:pt x="573024" y="8572"/>
                  <a:pt x="848490" y="0"/>
                  <a:pt x="848490" y="0"/>
                </a:cubicBezTo>
              </a:path>
            </a:pathLst>
          </a:custGeom>
          <a:noFill/>
          <a:ln w="19050" algn="ctr">
            <a:solidFill>
              <a:srgbClr val="046A38"/>
            </a:solidFill>
            <a:miter lim="800000"/>
            <a:headEnd type="triangle" w="lg" len="lg"/>
            <a:tailEnd type="oval"/>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587" name="Hexagon 586">
            <a:extLst>
              <a:ext uri="{FF2B5EF4-FFF2-40B4-BE49-F238E27FC236}">
                <a16:creationId xmlns:a16="http://schemas.microsoft.com/office/drawing/2014/main" id="{55F5113E-3139-5362-DE76-0BC767B3B096}"/>
              </a:ext>
            </a:extLst>
          </p:cNvPr>
          <p:cNvSpPr/>
          <p:nvPr/>
        </p:nvSpPr>
        <p:spPr bwMode="gray">
          <a:xfrm rot="16200000">
            <a:off x="8775782" y="4163335"/>
            <a:ext cx="962650" cy="967535"/>
          </a:xfrm>
          <a:prstGeom prst="hexagon">
            <a:avLst/>
          </a:prstGeom>
          <a:solidFill>
            <a:schemeClr val="accent2">
              <a:lumMod val="20000"/>
              <a:lumOff val="8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588" name="Hexagon 58">
            <a:extLst>
              <a:ext uri="{FF2B5EF4-FFF2-40B4-BE49-F238E27FC236}">
                <a16:creationId xmlns:a16="http://schemas.microsoft.com/office/drawing/2014/main" id="{59DB7C87-F45C-9B28-5CD5-8547AB59B4D6}"/>
              </a:ext>
            </a:extLst>
          </p:cNvPr>
          <p:cNvSpPr/>
          <p:nvPr/>
        </p:nvSpPr>
        <p:spPr bwMode="gray">
          <a:xfrm rot="5400000" flipV="1">
            <a:off x="9111770" y="3474869"/>
            <a:ext cx="251037" cy="1170717"/>
          </a:xfrm>
          <a:custGeom>
            <a:avLst/>
            <a:gdLst>
              <a:gd name="connsiteX0" fmla="*/ 0 w 1682040"/>
              <a:gd name="connsiteY0" fmla="*/ 725017 h 1450034"/>
              <a:gd name="connsiteX1" fmla="*/ 362509 w 1682040"/>
              <a:gd name="connsiteY1" fmla="*/ 0 h 1450034"/>
              <a:gd name="connsiteX2" fmla="*/ 1319532 w 1682040"/>
              <a:gd name="connsiteY2" fmla="*/ 0 h 1450034"/>
              <a:gd name="connsiteX3" fmla="*/ 1682040 w 1682040"/>
              <a:gd name="connsiteY3" fmla="*/ 725017 h 1450034"/>
              <a:gd name="connsiteX4" fmla="*/ 1319532 w 1682040"/>
              <a:gd name="connsiteY4" fmla="*/ 1450034 h 1450034"/>
              <a:gd name="connsiteX5" fmla="*/ 362509 w 1682040"/>
              <a:gd name="connsiteY5" fmla="*/ 1450034 h 1450034"/>
              <a:gd name="connsiteX6" fmla="*/ 0 w 1682040"/>
              <a:gd name="connsiteY6" fmla="*/ 725017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6" fmla="*/ 1410972 w 1682040"/>
              <a:gd name="connsiteY6" fmla="*/ 91440 h 1450034"/>
              <a:gd name="connsiteX0" fmla="*/ 1319532 w 1682040"/>
              <a:gd name="connsiteY0" fmla="*/ 0 h 1450034"/>
              <a:gd name="connsiteX1" fmla="*/ 1682040 w 1682040"/>
              <a:gd name="connsiteY1" fmla="*/ 725017 h 1450034"/>
              <a:gd name="connsiteX2" fmla="*/ 1319532 w 1682040"/>
              <a:gd name="connsiteY2" fmla="*/ 1450034 h 1450034"/>
              <a:gd name="connsiteX3" fmla="*/ 362509 w 1682040"/>
              <a:gd name="connsiteY3" fmla="*/ 1450034 h 1450034"/>
              <a:gd name="connsiteX4" fmla="*/ 0 w 1682040"/>
              <a:gd name="connsiteY4" fmla="*/ 725017 h 1450034"/>
              <a:gd name="connsiteX5" fmla="*/ 362509 w 1682040"/>
              <a:gd name="connsiteY5" fmla="*/ 0 h 1450034"/>
              <a:gd name="connsiteX0" fmla="*/ 1319532 w 1319532"/>
              <a:gd name="connsiteY0" fmla="*/ 0 h 1450034"/>
              <a:gd name="connsiteX1" fmla="*/ 1319532 w 1319532"/>
              <a:gd name="connsiteY1" fmla="*/ 1450034 h 1450034"/>
              <a:gd name="connsiteX2" fmla="*/ 362509 w 1319532"/>
              <a:gd name="connsiteY2" fmla="*/ 1450034 h 1450034"/>
              <a:gd name="connsiteX3" fmla="*/ 0 w 1319532"/>
              <a:gd name="connsiteY3" fmla="*/ 725017 h 1450034"/>
              <a:gd name="connsiteX4" fmla="*/ 362509 w 1319532"/>
              <a:gd name="connsiteY4" fmla="*/ 0 h 1450034"/>
              <a:gd name="connsiteX0" fmla="*/ 1319532 w 1319532"/>
              <a:gd name="connsiteY0" fmla="*/ 0 h 1450034"/>
              <a:gd name="connsiteX1" fmla="*/ 362509 w 1319532"/>
              <a:gd name="connsiteY1" fmla="*/ 1450034 h 1450034"/>
              <a:gd name="connsiteX2" fmla="*/ 0 w 1319532"/>
              <a:gd name="connsiteY2" fmla="*/ 725017 h 1450034"/>
              <a:gd name="connsiteX3" fmla="*/ 362509 w 1319532"/>
              <a:gd name="connsiteY3" fmla="*/ 0 h 1450034"/>
              <a:gd name="connsiteX0" fmla="*/ 362509 w 362509"/>
              <a:gd name="connsiteY0" fmla="*/ 1450034 h 1450034"/>
              <a:gd name="connsiteX1" fmla="*/ 0 w 362509"/>
              <a:gd name="connsiteY1" fmla="*/ 725017 h 1450034"/>
              <a:gd name="connsiteX2" fmla="*/ 362509 w 362509"/>
              <a:gd name="connsiteY2" fmla="*/ 0 h 1450034"/>
            </a:gdLst>
            <a:ahLst/>
            <a:cxnLst>
              <a:cxn ang="0">
                <a:pos x="connsiteX0" y="connsiteY0"/>
              </a:cxn>
              <a:cxn ang="0">
                <a:pos x="connsiteX1" y="connsiteY1"/>
              </a:cxn>
              <a:cxn ang="0">
                <a:pos x="connsiteX2" y="connsiteY2"/>
              </a:cxn>
            </a:cxnLst>
            <a:rect l="l" t="t" r="r" b="b"/>
            <a:pathLst>
              <a:path w="362509" h="1450034">
                <a:moveTo>
                  <a:pt x="362509" y="1450034"/>
                </a:moveTo>
                <a:lnTo>
                  <a:pt x="0" y="725017"/>
                </a:lnTo>
                <a:lnTo>
                  <a:pt x="362509" y="0"/>
                </a:lnTo>
              </a:path>
            </a:pathLst>
          </a:custGeom>
          <a:noFill/>
          <a:ln w="19050" algn="ctr">
            <a:solidFill>
              <a:srgbClr val="A7A8AA"/>
            </a:solidFill>
            <a:prstDash val="sysDot"/>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cxnSp>
        <p:nvCxnSpPr>
          <p:cNvPr id="589" name="Straight Connector 588">
            <a:extLst>
              <a:ext uri="{FF2B5EF4-FFF2-40B4-BE49-F238E27FC236}">
                <a16:creationId xmlns:a16="http://schemas.microsoft.com/office/drawing/2014/main" id="{D7CB5DC3-8150-C605-5FE4-286EF20EC7B2}"/>
              </a:ext>
            </a:extLst>
          </p:cNvPr>
          <p:cNvCxnSpPr>
            <a:cxnSpLocks/>
          </p:cNvCxnSpPr>
          <p:nvPr/>
        </p:nvCxnSpPr>
        <p:spPr>
          <a:xfrm flipH="1">
            <a:off x="6740773" y="5234543"/>
            <a:ext cx="555" cy="151367"/>
          </a:xfrm>
          <a:prstGeom prst="line">
            <a:avLst/>
          </a:prstGeom>
          <a:ln>
            <a:solidFill>
              <a:srgbClr val="003E58"/>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590" name="Straight Connector 589">
            <a:extLst>
              <a:ext uri="{FF2B5EF4-FFF2-40B4-BE49-F238E27FC236}">
                <a16:creationId xmlns:a16="http://schemas.microsoft.com/office/drawing/2014/main" id="{2FCD8BF4-08D3-B330-7214-9AF80ACEBF0D}"/>
              </a:ext>
            </a:extLst>
          </p:cNvPr>
          <p:cNvCxnSpPr>
            <a:cxnSpLocks/>
          </p:cNvCxnSpPr>
          <p:nvPr/>
        </p:nvCxnSpPr>
        <p:spPr>
          <a:xfrm flipH="1">
            <a:off x="4214177" y="5234543"/>
            <a:ext cx="555" cy="151367"/>
          </a:xfrm>
          <a:prstGeom prst="line">
            <a:avLst/>
          </a:prstGeom>
          <a:ln>
            <a:solidFill>
              <a:srgbClr val="00A3E0"/>
            </a:solidFill>
            <a:prstDash val="sysDot"/>
            <a:tailEnd type="diamond"/>
          </a:ln>
        </p:spPr>
        <p:style>
          <a:lnRef idx="1">
            <a:schemeClr val="accent1"/>
          </a:lnRef>
          <a:fillRef idx="0">
            <a:schemeClr val="accent1"/>
          </a:fillRef>
          <a:effectRef idx="0">
            <a:schemeClr val="accent1"/>
          </a:effectRef>
          <a:fontRef idx="minor">
            <a:schemeClr val="tx1"/>
          </a:fontRef>
        </p:style>
      </p:cxnSp>
      <p:cxnSp>
        <p:nvCxnSpPr>
          <p:cNvPr id="599" name="Straight Connector 598">
            <a:extLst>
              <a:ext uri="{FF2B5EF4-FFF2-40B4-BE49-F238E27FC236}">
                <a16:creationId xmlns:a16="http://schemas.microsoft.com/office/drawing/2014/main" id="{841F3189-F24A-D587-B153-11157C6654BA}"/>
              </a:ext>
            </a:extLst>
          </p:cNvPr>
          <p:cNvCxnSpPr>
            <a:cxnSpLocks/>
          </p:cNvCxnSpPr>
          <p:nvPr/>
        </p:nvCxnSpPr>
        <p:spPr>
          <a:xfrm flipH="1">
            <a:off x="9257107" y="5234543"/>
            <a:ext cx="555" cy="151367"/>
          </a:xfrm>
          <a:prstGeom prst="line">
            <a:avLst/>
          </a:prstGeom>
          <a:ln>
            <a:solidFill>
              <a:srgbClr val="046A38"/>
            </a:solidFill>
            <a:prstDash val="sysDot"/>
            <a:tailEnd type="diamond"/>
          </a:ln>
        </p:spPr>
        <p:style>
          <a:lnRef idx="1">
            <a:schemeClr val="accent1"/>
          </a:lnRef>
          <a:fillRef idx="0">
            <a:schemeClr val="accent1"/>
          </a:fillRef>
          <a:effectRef idx="0">
            <a:schemeClr val="accent1"/>
          </a:effectRef>
          <a:fontRef idx="minor">
            <a:schemeClr val="tx1"/>
          </a:fontRef>
        </p:style>
      </p:cxnSp>
      <p:sp>
        <p:nvSpPr>
          <p:cNvPr id="653" name="Graphic 4">
            <a:extLst>
              <a:ext uri="{FF2B5EF4-FFF2-40B4-BE49-F238E27FC236}">
                <a16:creationId xmlns:a16="http://schemas.microsoft.com/office/drawing/2014/main" id="{11D11737-E330-A347-DFE5-76D34F7CE7D6}"/>
              </a:ext>
            </a:extLst>
          </p:cNvPr>
          <p:cNvSpPr>
            <a:spLocks/>
          </p:cNvSpPr>
          <p:nvPr/>
        </p:nvSpPr>
        <p:spPr>
          <a:xfrm>
            <a:off x="9053384" y="4383082"/>
            <a:ext cx="378144" cy="490059"/>
          </a:xfrm>
          <a:custGeom>
            <a:avLst/>
            <a:gdLst>
              <a:gd name="connsiteX0" fmla="*/ 171113 w 185435"/>
              <a:gd name="connsiteY0" fmla="*/ 116246 h 234988"/>
              <a:gd name="connsiteX1" fmla="*/ 183893 w 185435"/>
              <a:gd name="connsiteY1" fmla="*/ 100286 h 234988"/>
              <a:gd name="connsiteX2" fmla="*/ 185171 w 185435"/>
              <a:gd name="connsiteY2" fmla="*/ 95179 h 234988"/>
              <a:gd name="connsiteX3" fmla="*/ 181976 w 185435"/>
              <a:gd name="connsiteY3" fmla="*/ 90710 h 234988"/>
              <a:gd name="connsiteX4" fmla="*/ 170474 w 185435"/>
              <a:gd name="connsiteY4" fmla="*/ 84965 h 234988"/>
              <a:gd name="connsiteX5" fmla="*/ 176864 w 185435"/>
              <a:gd name="connsiteY5" fmla="*/ 67728 h 234988"/>
              <a:gd name="connsiteX6" fmla="*/ 176225 w 185435"/>
              <a:gd name="connsiteY6" fmla="*/ 62621 h 234988"/>
              <a:gd name="connsiteX7" fmla="*/ 172391 w 185435"/>
              <a:gd name="connsiteY7" fmla="*/ 59429 h 234988"/>
              <a:gd name="connsiteX8" fmla="*/ 155777 w 185435"/>
              <a:gd name="connsiteY8" fmla="*/ 54960 h 234988"/>
              <a:gd name="connsiteX9" fmla="*/ 160889 w 185435"/>
              <a:gd name="connsiteY9" fmla="*/ 32616 h 234988"/>
              <a:gd name="connsiteX10" fmla="*/ 159611 w 185435"/>
              <a:gd name="connsiteY10" fmla="*/ 27509 h 234988"/>
              <a:gd name="connsiteX11" fmla="*/ 154499 w 185435"/>
              <a:gd name="connsiteY11" fmla="*/ 24955 h 234988"/>
              <a:gd name="connsiteX12" fmla="*/ 123827 w 185435"/>
              <a:gd name="connsiteY12" fmla="*/ 24955 h 234988"/>
              <a:gd name="connsiteX13" fmla="*/ 92516 w 185435"/>
              <a:gd name="connsiteY13" fmla="*/ 1334 h 234988"/>
              <a:gd name="connsiteX14" fmla="*/ 86126 w 185435"/>
              <a:gd name="connsiteY14" fmla="*/ 696 h 234988"/>
              <a:gd name="connsiteX15" fmla="*/ 82292 w 185435"/>
              <a:gd name="connsiteY15" fmla="*/ 6441 h 234988"/>
              <a:gd name="connsiteX16" fmla="*/ 82292 w 185435"/>
              <a:gd name="connsiteY16" fmla="*/ 35808 h 234988"/>
              <a:gd name="connsiteX17" fmla="*/ 3057 w 185435"/>
              <a:gd name="connsiteY17" fmla="*/ 83049 h 234988"/>
              <a:gd name="connsiteX18" fmla="*/ 501 w 185435"/>
              <a:gd name="connsiteY18" fmla="*/ 91349 h 234988"/>
              <a:gd name="connsiteX19" fmla="*/ 17115 w 185435"/>
              <a:gd name="connsiteY19" fmla="*/ 124545 h 234988"/>
              <a:gd name="connsiteX20" fmla="*/ 24783 w 185435"/>
              <a:gd name="connsiteY20" fmla="*/ 127737 h 234988"/>
              <a:gd name="connsiteX21" fmla="*/ 80376 w 185435"/>
              <a:gd name="connsiteY21" fmla="*/ 111777 h 234988"/>
              <a:gd name="connsiteX22" fmla="*/ 88044 w 185435"/>
              <a:gd name="connsiteY22" fmla="*/ 118161 h 234988"/>
              <a:gd name="connsiteX23" fmla="*/ 84210 w 185435"/>
              <a:gd name="connsiteY23" fmla="*/ 125184 h 234988"/>
              <a:gd name="connsiteX24" fmla="*/ 49704 w 185435"/>
              <a:gd name="connsiteY24" fmla="*/ 189024 h 234988"/>
              <a:gd name="connsiteX25" fmla="*/ 38841 w 185435"/>
              <a:gd name="connsiteY25" fmla="*/ 189024 h 234988"/>
              <a:gd name="connsiteX26" fmla="*/ 32451 w 185435"/>
              <a:gd name="connsiteY26" fmla="*/ 195408 h 234988"/>
              <a:gd name="connsiteX27" fmla="*/ 32451 w 185435"/>
              <a:gd name="connsiteY27" fmla="*/ 228604 h 234988"/>
              <a:gd name="connsiteX28" fmla="*/ 38841 w 185435"/>
              <a:gd name="connsiteY28" fmla="*/ 234988 h 234988"/>
              <a:gd name="connsiteX29" fmla="*/ 170474 w 185435"/>
              <a:gd name="connsiteY29" fmla="*/ 234988 h 234988"/>
              <a:gd name="connsiteX30" fmla="*/ 176864 w 185435"/>
              <a:gd name="connsiteY30" fmla="*/ 228604 h 234988"/>
              <a:gd name="connsiteX31" fmla="*/ 176864 w 185435"/>
              <a:gd name="connsiteY31" fmla="*/ 195408 h 234988"/>
              <a:gd name="connsiteX32" fmla="*/ 170474 w 185435"/>
              <a:gd name="connsiteY32" fmla="*/ 189024 h 234988"/>
              <a:gd name="connsiteX33" fmla="*/ 160250 w 185435"/>
              <a:gd name="connsiteY33" fmla="*/ 189024 h 234988"/>
              <a:gd name="connsiteX34" fmla="*/ 160250 w 185435"/>
              <a:gd name="connsiteY34" fmla="*/ 176894 h 234988"/>
              <a:gd name="connsiteX35" fmla="*/ 170474 w 185435"/>
              <a:gd name="connsiteY35" fmla="*/ 176894 h 234988"/>
              <a:gd name="connsiteX36" fmla="*/ 176225 w 185435"/>
              <a:gd name="connsiteY36" fmla="*/ 173702 h 234988"/>
              <a:gd name="connsiteX37" fmla="*/ 176225 w 185435"/>
              <a:gd name="connsiteY37" fmla="*/ 167318 h 234988"/>
              <a:gd name="connsiteX38" fmla="*/ 164723 w 185435"/>
              <a:gd name="connsiteY38" fmla="*/ 149443 h 234988"/>
              <a:gd name="connsiteX39" fmla="*/ 181337 w 185435"/>
              <a:gd name="connsiteY39" fmla="*/ 143697 h 234988"/>
              <a:gd name="connsiteX40" fmla="*/ 185171 w 185435"/>
              <a:gd name="connsiteY40" fmla="*/ 139867 h 234988"/>
              <a:gd name="connsiteX41" fmla="*/ 184531 w 185435"/>
              <a:gd name="connsiteY41" fmla="*/ 134121 h 234988"/>
              <a:gd name="connsiteX42" fmla="*/ 171113 w 185435"/>
              <a:gd name="connsiteY42" fmla="*/ 116246 h 234988"/>
              <a:gd name="connsiteX43" fmla="*/ 164084 w 185435"/>
              <a:gd name="connsiteY43" fmla="*/ 221582 h 234988"/>
              <a:gd name="connsiteX44" fmla="*/ 45231 w 185435"/>
              <a:gd name="connsiteY44" fmla="*/ 221582 h 234988"/>
              <a:gd name="connsiteX45" fmla="*/ 45231 w 185435"/>
              <a:gd name="connsiteY45" fmla="*/ 201153 h 234988"/>
              <a:gd name="connsiteX46" fmla="*/ 164084 w 185435"/>
              <a:gd name="connsiteY46" fmla="*/ 201153 h 234988"/>
              <a:gd name="connsiteX47" fmla="*/ 164084 w 185435"/>
              <a:gd name="connsiteY47" fmla="*/ 221582 h 234988"/>
              <a:gd name="connsiteX48" fmla="*/ 157694 w 185435"/>
              <a:gd name="connsiteY48" fmla="*/ 119438 h 234988"/>
              <a:gd name="connsiteX49" fmla="*/ 168557 w 185435"/>
              <a:gd name="connsiteY49" fmla="*/ 134121 h 234988"/>
              <a:gd name="connsiteX50" fmla="*/ 151943 w 185435"/>
              <a:gd name="connsiteY50" fmla="*/ 139867 h 234988"/>
              <a:gd name="connsiteX51" fmla="*/ 148109 w 185435"/>
              <a:gd name="connsiteY51" fmla="*/ 143697 h 234988"/>
              <a:gd name="connsiteX52" fmla="*/ 148748 w 185435"/>
              <a:gd name="connsiteY52" fmla="*/ 149443 h 234988"/>
              <a:gd name="connsiteX53" fmla="*/ 158333 w 185435"/>
              <a:gd name="connsiteY53" fmla="*/ 164126 h 234988"/>
              <a:gd name="connsiteX54" fmla="*/ 153860 w 185435"/>
              <a:gd name="connsiteY54" fmla="*/ 164126 h 234988"/>
              <a:gd name="connsiteX55" fmla="*/ 147470 w 185435"/>
              <a:gd name="connsiteY55" fmla="*/ 170510 h 234988"/>
              <a:gd name="connsiteX56" fmla="*/ 147470 w 185435"/>
              <a:gd name="connsiteY56" fmla="*/ 189024 h 234988"/>
              <a:gd name="connsiteX57" fmla="*/ 61845 w 185435"/>
              <a:gd name="connsiteY57" fmla="*/ 189024 h 234988"/>
              <a:gd name="connsiteX58" fmla="*/ 92516 w 185435"/>
              <a:gd name="connsiteY58" fmla="*/ 134121 h 234988"/>
              <a:gd name="connsiteX59" fmla="*/ 100184 w 185435"/>
              <a:gd name="connsiteY59" fmla="*/ 114969 h 234988"/>
              <a:gd name="connsiteX60" fmla="*/ 81654 w 185435"/>
              <a:gd name="connsiteY60" fmla="*/ 99009 h 234988"/>
              <a:gd name="connsiteX61" fmla="*/ 77820 w 185435"/>
              <a:gd name="connsiteY61" fmla="*/ 99009 h 234988"/>
              <a:gd name="connsiteX62" fmla="*/ 25422 w 185435"/>
              <a:gd name="connsiteY62" fmla="*/ 113693 h 234988"/>
              <a:gd name="connsiteX63" fmla="*/ 13920 w 185435"/>
              <a:gd name="connsiteY63" fmla="*/ 90710 h 234988"/>
              <a:gd name="connsiteX64" fmla="*/ 91239 w 185435"/>
              <a:gd name="connsiteY64" fmla="*/ 44107 h 234988"/>
              <a:gd name="connsiteX65" fmla="*/ 94434 w 185435"/>
              <a:gd name="connsiteY65" fmla="*/ 38361 h 234988"/>
              <a:gd name="connsiteX66" fmla="*/ 94434 w 185435"/>
              <a:gd name="connsiteY66" fmla="*/ 17933 h 234988"/>
              <a:gd name="connsiteX67" fmla="*/ 117437 w 185435"/>
              <a:gd name="connsiteY67" fmla="*/ 35169 h 234988"/>
              <a:gd name="connsiteX68" fmla="*/ 121271 w 185435"/>
              <a:gd name="connsiteY68" fmla="*/ 36446 h 234988"/>
              <a:gd name="connsiteX69" fmla="*/ 146192 w 185435"/>
              <a:gd name="connsiteY69" fmla="*/ 36446 h 234988"/>
              <a:gd name="connsiteX70" fmla="*/ 141719 w 185435"/>
              <a:gd name="connsiteY70" fmla="*/ 56875 h 234988"/>
              <a:gd name="connsiteX71" fmla="*/ 146192 w 185435"/>
              <a:gd name="connsiteY71" fmla="*/ 64536 h 234988"/>
              <a:gd name="connsiteX72" fmla="*/ 162167 w 185435"/>
              <a:gd name="connsiteY72" fmla="*/ 69005 h 234988"/>
              <a:gd name="connsiteX73" fmla="*/ 156416 w 185435"/>
              <a:gd name="connsiteY73" fmla="*/ 84965 h 234988"/>
              <a:gd name="connsiteX74" fmla="*/ 159611 w 185435"/>
              <a:gd name="connsiteY74" fmla="*/ 92625 h 234988"/>
              <a:gd name="connsiteX75" fmla="*/ 169196 w 185435"/>
              <a:gd name="connsiteY75" fmla="*/ 97094 h 234988"/>
              <a:gd name="connsiteX76" fmla="*/ 158333 w 185435"/>
              <a:gd name="connsiteY76" fmla="*/ 110501 h 234988"/>
              <a:gd name="connsiteX77" fmla="*/ 157694 w 185435"/>
              <a:gd name="connsiteY77" fmla="*/ 119438 h 2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185435" h="234988">
                <a:moveTo>
                  <a:pt x="171113" y="116246"/>
                </a:moveTo>
                <a:lnTo>
                  <a:pt x="183893" y="100286"/>
                </a:lnTo>
                <a:cubicBezTo>
                  <a:pt x="185171" y="99009"/>
                  <a:pt x="185810" y="97094"/>
                  <a:pt x="185171" y="95179"/>
                </a:cubicBezTo>
                <a:cubicBezTo>
                  <a:pt x="184531" y="93264"/>
                  <a:pt x="183254" y="91987"/>
                  <a:pt x="181976" y="90710"/>
                </a:cubicBezTo>
                <a:lnTo>
                  <a:pt x="170474" y="84965"/>
                </a:lnTo>
                <a:lnTo>
                  <a:pt x="176864" y="67728"/>
                </a:lnTo>
                <a:cubicBezTo>
                  <a:pt x="177503" y="65813"/>
                  <a:pt x="177503" y="64536"/>
                  <a:pt x="176225" y="62621"/>
                </a:cubicBezTo>
                <a:cubicBezTo>
                  <a:pt x="174947" y="60705"/>
                  <a:pt x="174308" y="60067"/>
                  <a:pt x="172391" y="59429"/>
                </a:cubicBezTo>
                <a:lnTo>
                  <a:pt x="155777" y="54960"/>
                </a:lnTo>
                <a:lnTo>
                  <a:pt x="160889" y="32616"/>
                </a:lnTo>
                <a:cubicBezTo>
                  <a:pt x="161528" y="30701"/>
                  <a:pt x="160889" y="28785"/>
                  <a:pt x="159611" y="27509"/>
                </a:cubicBezTo>
                <a:cubicBezTo>
                  <a:pt x="158333" y="26232"/>
                  <a:pt x="156416" y="24955"/>
                  <a:pt x="154499" y="24955"/>
                </a:cubicBezTo>
                <a:lnTo>
                  <a:pt x="123827" y="24955"/>
                </a:lnTo>
                <a:lnTo>
                  <a:pt x="92516" y="1334"/>
                </a:lnTo>
                <a:cubicBezTo>
                  <a:pt x="90600" y="57"/>
                  <a:pt x="88044" y="-581"/>
                  <a:pt x="86126" y="696"/>
                </a:cubicBezTo>
                <a:cubicBezTo>
                  <a:pt x="84210" y="1973"/>
                  <a:pt x="82292" y="3888"/>
                  <a:pt x="82292" y="6441"/>
                </a:cubicBezTo>
                <a:lnTo>
                  <a:pt x="82292" y="35808"/>
                </a:lnTo>
                <a:lnTo>
                  <a:pt x="3057" y="83049"/>
                </a:lnTo>
                <a:cubicBezTo>
                  <a:pt x="501" y="84965"/>
                  <a:pt x="-777" y="88157"/>
                  <a:pt x="501" y="91349"/>
                </a:cubicBezTo>
                <a:lnTo>
                  <a:pt x="17115" y="124545"/>
                </a:lnTo>
                <a:cubicBezTo>
                  <a:pt x="18393" y="127099"/>
                  <a:pt x="21588" y="128376"/>
                  <a:pt x="24783" y="127737"/>
                </a:cubicBezTo>
                <a:lnTo>
                  <a:pt x="80376" y="111777"/>
                </a:lnTo>
                <a:cubicBezTo>
                  <a:pt x="83571" y="113054"/>
                  <a:pt x="87405" y="115608"/>
                  <a:pt x="88044" y="118161"/>
                </a:cubicBezTo>
                <a:cubicBezTo>
                  <a:pt x="88682" y="120077"/>
                  <a:pt x="86766" y="122630"/>
                  <a:pt x="84210" y="125184"/>
                </a:cubicBezTo>
                <a:cubicBezTo>
                  <a:pt x="70152" y="139229"/>
                  <a:pt x="52260" y="160296"/>
                  <a:pt x="49704" y="189024"/>
                </a:cubicBezTo>
                <a:lnTo>
                  <a:pt x="38841" y="189024"/>
                </a:lnTo>
                <a:cubicBezTo>
                  <a:pt x="35007" y="189024"/>
                  <a:pt x="32451" y="191577"/>
                  <a:pt x="32451" y="195408"/>
                </a:cubicBezTo>
                <a:lnTo>
                  <a:pt x="32451" y="228604"/>
                </a:lnTo>
                <a:cubicBezTo>
                  <a:pt x="32451" y="232435"/>
                  <a:pt x="35007" y="234988"/>
                  <a:pt x="38841" y="234988"/>
                </a:cubicBezTo>
                <a:lnTo>
                  <a:pt x="170474" y="234988"/>
                </a:lnTo>
                <a:cubicBezTo>
                  <a:pt x="174308" y="234988"/>
                  <a:pt x="176864" y="232435"/>
                  <a:pt x="176864" y="228604"/>
                </a:cubicBezTo>
                <a:lnTo>
                  <a:pt x="176864" y="195408"/>
                </a:lnTo>
                <a:cubicBezTo>
                  <a:pt x="176864" y="191577"/>
                  <a:pt x="174308" y="189024"/>
                  <a:pt x="170474" y="189024"/>
                </a:cubicBezTo>
                <a:lnTo>
                  <a:pt x="160250" y="189024"/>
                </a:lnTo>
                <a:lnTo>
                  <a:pt x="160250" y="176894"/>
                </a:lnTo>
                <a:lnTo>
                  <a:pt x="170474" y="176894"/>
                </a:lnTo>
                <a:cubicBezTo>
                  <a:pt x="173030" y="176894"/>
                  <a:pt x="174947" y="175617"/>
                  <a:pt x="176225" y="173702"/>
                </a:cubicBezTo>
                <a:cubicBezTo>
                  <a:pt x="177503" y="171787"/>
                  <a:pt x="177503" y="169233"/>
                  <a:pt x="176225" y="167318"/>
                </a:cubicBezTo>
                <a:lnTo>
                  <a:pt x="164723" y="149443"/>
                </a:lnTo>
                <a:lnTo>
                  <a:pt x="181337" y="143697"/>
                </a:lnTo>
                <a:cubicBezTo>
                  <a:pt x="183254" y="143059"/>
                  <a:pt x="184531" y="141782"/>
                  <a:pt x="185171" y="139867"/>
                </a:cubicBezTo>
                <a:cubicBezTo>
                  <a:pt x="185810" y="137952"/>
                  <a:pt x="185171" y="136037"/>
                  <a:pt x="184531" y="134121"/>
                </a:cubicBezTo>
                <a:lnTo>
                  <a:pt x="171113" y="116246"/>
                </a:lnTo>
                <a:close/>
                <a:moveTo>
                  <a:pt x="164084" y="221582"/>
                </a:moveTo>
                <a:lnTo>
                  <a:pt x="45231" y="221582"/>
                </a:lnTo>
                <a:lnTo>
                  <a:pt x="45231" y="201153"/>
                </a:lnTo>
                <a:lnTo>
                  <a:pt x="164084" y="201153"/>
                </a:lnTo>
                <a:lnTo>
                  <a:pt x="164084" y="221582"/>
                </a:lnTo>
                <a:close/>
                <a:moveTo>
                  <a:pt x="157694" y="119438"/>
                </a:moveTo>
                <a:lnTo>
                  <a:pt x="168557" y="134121"/>
                </a:lnTo>
                <a:lnTo>
                  <a:pt x="151943" y="139867"/>
                </a:lnTo>
                <a:cubicBezTo>
                  <a:pt x="150026" y="140505"/>
                  <a:pt x="148748" y="141782"/>
                  <a:pt x="148109" y="143697"/>
                </a:cubicBezTo>
                <a:cubicBezTo>
                  <a:pt x="147470" y="145613"/>
                  <a:pt x="147470" y="147528"/>
                  <a:pt x="148748" y="149443"/>
                </a:cubicBezTo>
                <a:lnTo>
                  <a:pt x="158333" y="164126"/>
                </a:lnTo>
                <a:lnTo>
                  <a:pt x="153860" y="164126"/>
                </a:lnTo>
                <a:cubicBezTo>
                  <a:pt x="150026" y="164126"/>
                  <a:pt x="147470" y="166680"/>
                  <a:pt x="147470" y="170510"/>
                </a:cubicBezTo>
                <a:lnTo>
                  <a:pt x="147470" y="189024"/>
                </a:lnTo>
                <a:lnTo>
                  <a:pt x="61845" y="189024"/>
                </a:lnTo>
                <a:cubicBezTo>
                  <a:pt x="63762" y="170510"/>
                  <a:pt x="73347" y="153273"/>
                  <a:pt x="92516" y="134121"/>
                </a:cubicBezTo>
                <a:cubicBezTo>
                  <a:pt x="98906" y="127737"/>
                  <a:pt x="101462" y="121353"/>
                  <a:pt x="100184" y="114969"/>
                </a:cubicBezTo>
                <a:cubicBezTo>
                  <a:pt x="97628" y="104117"/>
                  <a:pt x="83571" y="99648"/>
                  <a:pt x="81654" y="99009"/>
                </a:cubicBezTo>
                <a:cubicBezTo>
                  <a:pt x="80376" y="98371"/>
                  <a:pt x="79098" y="98371"/>
                  <a:pt x="77820" y="99009"/>
                </a:cubicBezTo>
                <a:lnTo>
                  <a:pt x="25422" y="113693"/>
                </a:lnTo>
                <a:lnTo>
                  <a:pt x="13920" y="90710"/>
                </a:lnTo>
                <a:lnTo>
                  <a:pt x="91239" y="44107"/>
                </a:lnTo>
                <a:cubicBezTo>
                  <a:pt x="93155" y="42830"/>
                  <a:pt x="94434" y="40915"/>
                  <a:pt x="94434" y="38361"/>
                </a:cubicBezTo>
                <a:lnTo>
                  <a:pt x="94434" y="17933"/>
                </a:lnTo>
                <a:lnTo>
                  <a:pt x="117437" y="35169"/>
                </a:lnTo>
                <a:cubicBezTo>
                  <a:pt x="118715" y="35808"/>
                  <a:pt x="119993" y="36446"/>
                  <a:pt x="121271" y="36446"/>
                </a:cubicBezTo>
                <a:lnTo>
                  <a:pt x="146192" y="36446"/>
                </a:lnTo>
                <a:lnTo>
                  <a:pt x="141719" y="56875"/>
                </a:lnTo>
                <a:cubicBezTo>
                  <a:pt x="141080" y="60067"/>
                  <a:pt x="142997" y="63259"/>
                  <a:pt x="146192" y="64536"/>
                </a:cubicBezTo>
                <a:lnTo>
                  <a:pt x="162167" y="69005"/>
                </a:lnTo>
                <a:lnTo>
                  <a:pt x="156416" y="84965"/>
                </a:lnTo>
                <a:cubicBezTo>
                  <a:pt x="155138" y="88157"/>
                  <a:pt x="156416" y="91349"/>
                  <a:pt x="159611" y="92625"/>
                </a:cubicBezTo>
                <a:lnTo>
                  <a:pt x="169196" y="97094"/>
                </a:lnTo>
                <a:lnTo>
                  <a:pt x="158333" y="110501"/>
                </a:lnTo>
                <a:cubicBezTo>
                  <a:pt x="156416" y="114331"/>
                  <a:pt x="155777" y="117523"/>
                  <a:pt x="157694" y="119438"/>
                </a:cubicBezTo>
                <a:close/>
              </a:path>
            </a:pathLst>
          </a:custGeom>
          <a:solidFill>
            <a:srgbClr val="046A38"/>
          </a:solidFill>
          <a:ln w="6390" cap="flat">
            <a:noFill/>
            <a:prstDash val="solid"/>
            <a:miter/>
          </a:ln>
        </p:spPr>
        <p:txBody>
          <a:bodyPr rtlCol="0" anchor="ctr"/>
          <a:lstStyle/>
          <a:p>
            <a:endParaRPr lang="en-US"/>
          </a:p>
        </p:txBody>
      </p:sp>
      <p:grpSp>
        <p:nvGrpSpPr>
          <p:cNvPr id="658" name="Graphic 1100">
            <a:extLst>
              <a:ext uri="{FF2B5EF4-FFF2-40B4-BE49-F238E27FC236}">
                <a16:creationId xmlns:a16="http://schemas.microsoft.com/office/drawing/2014/main" id="{BED8CF32-9243-68C0-17CD-7F3325B4A152}"/>
              </a:ext>
            </a:extLst>
          </p:cNvPr>
          <p:cNvGrpSpPr>
            <a:grpSpLocks/>
          </p:cNvGrpSpPr>
          <p:nvPr/>
        </p:nvGrpSpPr>
        <p:grpSpPr>
          <a:xfrm>
            <a:off x="6465255" y="4450762"/>
            <a:ext cx="441825" cy="444750"/>
            <a:chOff x="5768835" y="4869389"/>
            <a:chExt cx="218535" cy="217693"/>
          </a:xfrm>
          <a:solidFill>
            <a:srgbClr val="003E58"/>
          </a:solidFill>
        </p:grpSpPr>
        <p:sp>
          <p:nvSpPr>
            <p:cNvPr id="660" name="Graphic 1100">
              <a:extLst>
                <a:ext uri="{FF2B5EF4-FFF2-40B4-BE49-F238E27FC236}">
                  <a16:creationId xmlns:a16="http://schemas.microsoft.com/office/drawing/2014/main" id="{2927E31C-95B5-E6A5-CA42-A49709EBCE61}"/>
                </a:ext>
              </a:extLst>
            </p:cNvPr>
            <p:cNvSpPr/>
            <p:nvPr/>
          </p:nvSpPr>
          <p:spPr>
            <a:xfrm>
              <a:off x="5828900" y="4869389"/>
              <a:ext cx="158470" cy="217693"/>
            </a:xfrm>
            <a:custGeom>
              <a:avLst/>
              <a:gdLst>
                <a:gd name="connsiteX0" fmla="*/ 157832 w 158470"/>
                <a:gd name="connsiteY0" fmla="*/ 54902 h 217693"/>
                <a:gd name="connsiteX1" fmla="*/ 156553 w 158470"/>
                <a:gd name="connsiteY1" fmla="*/ 52987 h 217693"/>
                <a:gd name="connsiteX2" fmla="*/ 105434 w 158470"/>
                <a:gd name="connsiteY2" fmla="*/ 1915 h 217693"/>
                <a:gd name="connsiteX3" fmla="*/ 103517 w 158470"/>
                <a:gd name="connsiteY3" fmla="*/ 638 h 217693"/>
                <a:gd name="connsiteX4" fmla="*/ 100961 w 158470"/>
                <a:gd name="connsiteY4" fmla="*/ 0 h 217693"/>
                <a:gd name="connsiteX5" fmla="*/ 6390 w 158470"/>
                <a:gd name="connsiteY5" fmla="*/ 0 h 217693"/>
                <a:gd name="connsiteX6" fmla="*/ 0 w 158470"/>
                <a:gd name="connsiteY6" fmla="*/ 6384 h 217693"/>
                <a:gd name="connsiteX7" fmla="*/ 0 w 158470"/>
                <a:gd name="connsiteY7" fmla="*/ 44050 h 217693"/>
                <a:gd name="connsiteX8" fmla="*/ 6390 w 158470"/>
                <a:gd name="connsiteY8" fmla="*/ 50434 h 217693"/>
                <a:gd name="connsiteX9" fmla="*/ 12780 w 158470"/>
                <a:gd name="connsiteY9" fmla="*/ 44050 h 217693"/>
                <a:gd name="connsiteX10" fmla="*/ 12780 w 158470"/>
                <a:gd name="connsiteY10" fmla="*/ 12768 h 217693"/>
                <a:gd name="connsiteX11" fmla="*/ 94571 w 158470"/>
                <a:gd name="connsiteY11" fmla="*/ 12768 h 217693"/>
                <a:gd name="connsiteX12" fmla="*/ 94571 w 158470"/>
                <a:gd name="connsiteY12" fmla="*/ 57456 h 217693"/>
                <a:gd name="connsiteX13" fmla="*/ 100961 w 158470"/>
                <a:gd name="connsiteY13" fmla="*/ 63840 h 217693"/>
                <a:gd name="connsiteX14" fmla="*/ 146329 w 158470"/>
                <a:gd name="connsiteY14" fmla="*/ 63840 h 217693"/>
                <a:gd name="connsiteX15" fmla="*/ 146329 w 158470"/>
                <a:gd name="connsiteY15" fmla="*/ 205564 h 217693"/>
                <a:gd name="connsiteX16" fmla="*/ 12780 w 158470"/>
                <a:gd name="connsiteY16" fmla="*/ 205564 h 217693"/>
                <a:gd name="connsiteX17" fmla="*/ 12780 w 158470"/>
                <a:gd name="connsiteY17" fmla="*/ 156408 h 217693"/>
                <a:gd name="connsiteX18" fmla="*/ 6390 w 158470"/>
                <a:gd name="connsiteY18" fmla="*/ 150024 h 217693"/>
                <a:gd name="connsiteX19" fmla="*/ 0 w 158470"/>
                <a:gd name="connsiteY19" fmla="*/ 156408 h 217693"/>
                <a:gd name="connsiteX20" fmla="*/ 0 w 158470"/>
                <a:gd name="connsiteY20" fmla="*/ 211310 h 217693"/>
                <a:gd name="connsiteX21" fmla="*/ 6390 w 158470"/>
                <a:gd name="connsiteY21" fmla="*/ 217694 h 217693"/>
                <a:gd name="connsiteX22" fmla="*/ 152080 w 158470"/>
                <a:gd name="connsiteY22" fmla="*/ 217694 h 217693"/>
                <a:gd name="connsiteX23" fmla="*/ 158470 w 158470"/>
                <a:gd name="connsiteY23" fmla="*/ 211310 h 217693"/>
                <a:gd name="connsiteX24" fmla="*/ 158470 w 158470"/>
                <a:gd name="connsiteY24" fmla="*/ 57456 h 217693"/>
                <a:gd name="connsiteX25" fmla="*/ 158470 w 158470"/>
                <a:gd name="connsiteY25" fmla="*/ 57456 h 217693"/>
                <a:gd name="connsiteX26" fmla="*/ 157832 w 158470"/>
                <a:gd name="connsiteY26" fmla="*/ 54902 h 217693"/>
                <a:gd name="connsiteX27" fmla="*/ 106712 w 158470"/>
                <a:gd name="connsiteY27" fmla="*/ 21067 h 217693"/>
                <a:gd name="connsiteX28" fmla="*/ 136106 w 158470"/>
                <a:gd name="connsiteY28" fmla="*/ 50434 h 217693"/>
                <a:gd name="connsiteX29" fmla="*/ 106712 w 158470"/>
                <a:gd name="connsiteY29" fmla="*/ 50434 h 217693"/>
                <a:gd name="connsiteX30" fmla="*/ 106712 w 158470"/>
                <a:gd name="connsiteY30" fmla="*/ 21067 h 21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58470" h="217693">
                  <a:moveTo>
                    <a:pt x="157832" y="54902"/>
                  </a:moveTo>
                  <a:cubicBezTo>
                    <a:pt x="157192" y="54264"/>
                    <a:pt x="157192" y="53626"/>
                    <a:pt x="156553" y="52987"/>
                  </a:cubicBezTo>
                  <a:lnTo>
                    <a:pt x="105434" y="1915"/>
                  </a:lnTo>
                  <a:cubicBezTo>
                    <a:pt x="104795" y="1277"/>
                    <a:pt x="104156" y="638"/>
                    <a:pt x="103517" y="638"/>
                  </a:cubicBezTo>
                  <a:cubicBezTo>
                    <a:pt x="102878" y="638"/>
                    <a:pt x="101600" y="0"/>
                    <a:pt x="100961" y="0"/>
                  </a:cubicBezTo>
                  <a:lnTo>
                    <a:pt x="6390" y="0"/>
                  </a:lnTo>
                  <a:cubicBezTo>
                    <a:pt x="2556" y="0"/>
                    <a:pt x="0" y="2554"/>
                    <a:pt x="0" y="6384"/>
                  </a:cubicBezTo>
                  <a:lnTo>
                    <a:pt x="0" y="44050"/>
                  </a:lnTo>
                  <a:cubicBezTo>
                    <a:pt x="0" y="47880"/>
                    <a:pt x="2556" y="50434"/>
                    <a:pt x="6390" y="50434"/>
                  </a:cubicBezTo>
                  <a:cubicBezTo>
                    <a:pt x="10224" y="50434"/>
                    <a:pt x="12780" y="47880"/>
                    <a:pt x="12780" y="44050"/>
                  </a:cubicBezTo>
                  <a:lnTo>
                    <a:pt x="12780" y="12768"/>
                  </a:lnTo>
                  <a:lnTo>
                    <a:pt x="94571" y="12768"/>
                  </a:lnTo>
                  <a:lnTo>
                    <a:pt x="94571" y="57456"/>
                  </a:lnTo>
                  <a:cubicBezTo>
                    <a:pt x="94571" y="61286"/>
                    <a:pt x="97127" y="63840"/>
                    <a:pt x="100961" y="63840"/>
                  </a:cubicBezTo>
                  <a:lnTo>
                    <a:pt x="146329" y="63840"/>
                  </a:lnTo>
                  <a:lnTo>
                    <a:pt x="146329" y="205564"/>
                  </a:lnTo>
                  <a:lnTo>
                    <a:pt x="12780" y="205564"/>
                  </a:lnTo>
                  <a:lnTo>
                    <a:pt x="12780" y="156408"/>
                  </a:lnTo>
                  <a:cubicBezTo>
                    <a:pt x="12780" y="152577"/>
                    <a:pt x="10224" y="150024"/>
                    <a:pt x="6390" y="150024"/>
                  </a:cubicBezTo>
                  <a:cubicBezTo>
                    <a:pt x="2556" y="150024"/>
                    <a:pt x="0" y="152577"/>
                    <a:pt x="0" y="156408"/>
                  </a:cubicBezTo>
                  <a:lnTo>
                    <a:pt x="0" y="211310"/>
                  </a:lnTo>
                  <a:cubicBezTo>
                    <a:pt x="0" y="215140"/>
                    <a:pt x="2556" y="217694"/>
                    <a:pt x="6390" y="217694"/>
                  </a:cubicBezTo>
                  <a:lnTo>
                    <a:pt x="152080" y="217694"/>
                  </a:lnTo>
                  <a:cubicBezTo>
                    <a:pt x="155914" y="217694"/>
                    <a:pt x="158470" y="215140"/>
                    <a:pt x="158470" y="211310"/>
                  </a:cubicBezTo>
                  <a:lnTo>
                    <a:pt x="158470" y="57456"/>
                  </a:lnTo>
                  <a:lnTo>
                    <a:pt x="158470" y="57456"/>
                  </a:lnTo>
                  <a:cubicBezTo>
                    <a:pt x="158470" y="56179"/>
                    <a:pt x="157832" y="55541"/>
                    <a:pt x="157832" y="54902"/>
                  </a:cubicBezTo>
                  <a:close/>
                  <a:moveTo>
                    <a:pt x="106712" y="21067"/>
                  </a:moveTo>
                  <a:lnTo>
                    <a:pt x="136106" y="50434"/>
                  </a:lnTo>
                  <a:lnTo>
                    <a:pt x="106712" y="50434"/>
                  </a:lnTo>
                  <a:lnTo>
                    <a:pt x="106712" y="21067"/>
                  </a:lnTo>
                  <a:close/>
                </a:path>
              </a:pathLst>
            </a:custGeom>
            <a:grpFill/>
            <a:ln w="6390" cap="flat">
              <a:noFill/>
              <a:prstDash val="solid"/>
              <a:miter/>
            </a:ln>
          </p:spPr>
          <p:txBody>
            <a:bodyPr rtlCol="0" anchor="ctr"/>
            <a:lstStyle/>
            <a:p>
              <a:endParaRPr lang="en-US"/>
            </a:p>
          </p:txBody>
        </p:sp>
        <p:sp>
          <p:nvSpPr>
            <p:cNvPr id="661" name="Graphic 1100">
              <a:extLst>
                <a:ext uri="{FF2B5EF4-FFF2-40B4-BE49-F238E27FC236}">
                  <a16:creationId xmlns:a16="http://schemas.microsoft.com/office/drawing/2014/main" id="{82C228EF-B046-82C1-8432-DD01CD722CE2}"/>
                </a:ext>
              </a:extLst>
            </p:cNvPr>
            <p:cNvSpPr/>
            <p:nvPr/>
          </p:nvSpPr>
          <p:spPr>
            <a:xfrm>
              <a:off x="5768835" y="4902586"/>
              <a:ext cx="123964" cy="124487"/>
            </a:xfrm>
            <a:custGeom>
              <a:avLst/>
              <a:gdLst>
                <a:gd name="connsiteX0" fmla="*/ 78596 w 123964"/>
                <a:gd name="connsiteY0" fmla="*/ 114273 h 124487"/>
                <a:gd name="connsiteX1" fmla="*/ 81791 w 123964"/>
                <a:gd name="connsiteY1" fmla="*/ 116189 h 124487"/>
                <a:gd name="connsiteX2" fmla="*/ 116297 w 123964"/>
                <a:gd name="connsiteY2" fmla="*/ 124488 h 124487"/>
                <a:gd name="connsiteX3" fmla="*/ 117575 w 123964"/>
                <a:gd name="connsiteY3" fmla="*/ 124488 h 124487"/>
                <a:gd name="connsiteX4" fmla="*/ 122048 w 123964"/>
                <a:gd name="connsiteY4" fmla="*/ 122573 h 124487"/>
                <a:gd name="connsiteX5" fmla="*/ 123965 w 123964"/>
                <a:gd name="connsiteY5" fmla="*/ 116189 h 124487"/>
                <a:gd name="connsiteX6" fmla="*/ 115658 w 123964"/>
                <a:gd name="connsiteY6" fmla="*/ 81715 h 124487"/>
                <a:gd name="connsiteX7" fmla="*/ 113741 w 123964"/>
                <a:gd name="connsiteY7" fmla="*/ 78523 h 124487"/>
                <a:gd name="connsiteX8" fmla="*/ 36423 w 123964"/>
                <a:gd name="connsiteY8" fmla="*/ 1915 h 124487"/>
                <a:gd name="connsiteX9" fmla="*/ 27477 w 123964"/>
                <a:gd name="connsiteY9" fmla="*/ 1915 h 124487"/>
                <a:gd name="connsiteX10" fmla="*/ 1917 w 123964"/>
                <a:gd name="connsiteY10" fmla="*/ 27451 h 124487"/>
                <a:gd name="connsiteX11" fmla="*/ 1917 w 123964"/>
                <a:gd name="connsiteY11" fmla="*/ 36389 h 124487"/>
                <a:gd name="connsiteX12" fmla="*/ 78596 w 123964"/>
                <a:gd name="connsiteY12" fmla="*/ 114273 h 124487"/>
                <a:gd name="connsiteX13" fmla="*/ 88820 w 123964"/>
                <a:gd name="connsiteY13" fmla="*/ 104059 h 124487"/>
                <a:gd name="connsiteX14" fmla="*/ 103517 w 123964"/>
                <a:gd name="connsiteY14" fmla="*/ 89376 h 124487"/>
                <a:gd name="connsiteX15" fmla="*/ 108629 w 123964"/>
                <a:gd name="connsiteY15" fmla="*/ 109166 h 124487"/>
                <a:gd name="connsiteX16" fmla="*/ 88820 w 123964"/>
                <a:gd name="connsiteY16" fmla="*/ 104059 h 124487"/>
                <a:gd name="connsiteX17" fmla="*/ 31950 w 123964"/>
                <a:gd name="connsiteY17" fmla="*/ 15960 h 124487"/>
                <a:gd name="connsiteX18" fmla="*/ 95849 w 123964"/>
                <a:gd name="connsiteY18" fmla="*/ 79800 h 124487"/>
                <a:gd name="connsiteX19" fmla="*/ 79235 w 123964"/>
                <a:gd name="connsiteY19" fmla="*/ 96398 h 124487"/>
                <a:gd name="connsiteX20" fmla="*/ 15336 w 123964"/>
                <a:gd name="connsiteY20" fmla="*/ 32558 h 124487"/>
                <a:gd name="connsiteX21" fmla="*/ 31950 w 123964"/>
                <a:gd name="connsiteY21" fmla="*/ 15960 h 124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3964" h="124487">
                  <a:moveTo>
                    <a:pt x="78596" y="114273"/>
                  </a:moveTo>
                  <a:cubicBezTo>
                    <a:pt x="79235" y="114912"/>
                    <a:pt x="80513" y="115550"/>
                    <a:pt x="81791" y="116189"/>
                  </a:cubicBezTo>
                  <a:lnTo>
                    <a:pt x="116297" y="124488"/>
                  </a:lnTo>
                  <a:cubicBezTo>
                    <a:pt x="116936" y="124488"/>
                    <a:pt x="117575" y="124488"/>
                    <a:pt x="117575" y="124488"/>
                  </a:cubicBezTo>
                  <a:cubicBezTo>
                    <a:pt x="119492" y="124488"/>
                    <a:pt x="120770" y="123849"/>
                    <a:pt x="122048" y="122573"/>
                  </a:cubicBezTo>
                  <a:cubicBezTo>
                    <a:pt x="123326" y="121296"/>
                    <a:pt x="123965" y="118742"/>
                    <a:pt x="123965" y="116189"/>
                  </a:cubicBezTo>
                  <a:lnTo>
                    <a:pt x="115658" y="81715"/>
                  </a:lnTo>
                  <a:cubicBezTo>
                    <a:pt x="115019" y="80438"/>
                    <a:pt x="115019" y="79800"/>
                    <a:pt x="113741" y="78523"/>
                  </a:cubicBezTo>
                  <a:lnTo>
                    <a:pt x="36423" y="1915"/>
                  </a:lnTo>
                  <a:cubicBezTo>
                    <a:pt x="33866" y="-638"/>
                    <a:pt x="30033" y="-638"/>
                    <a:pt x="27477" y="1915"/>
                  </a:cubicBezTo>
                  <a:lnTo>
                    <a:pt x="1917" y="27451"/>
                  </a:lnTo>
                  <a:cubicBezTo>
                    <a:pt x="-639" y="30005"/>
                    <a:pt x="-639" y="33835"/>
                    <a:pt x="1917" y="36389"/>
                  </a:cubicBezTo>
                  <a:lnTo>
                    <a:pt x="78596" y="114273"/>
                  </a:lnTo>
                  <a:close/>
                  <a:moveTo>
                    <a:pt x="88820" y="104059"/>
                  </a:moveTo>
                  <a:lnTo>
                    <a:pt x="103517" y="89376"/>
                  </a:lnTo>
                  <a:lnTo>
                    <a:pt x="108629" y="109166"/>
                  </a:lnTo>
                  <a:lnTo>
                    <a:pt x="88820" y="104059"/>
                  </a:lnTo>
                  <a:close/>
                  <a:moveTo>
                    <a:pt x="31950" y="15960"/>
                  </a:moveTo>
                  <a:lnTo>
                    <a:pt x="95849" y="79800"/>
                  </a:lnTo>
                  <a:lnTo>
                    <a:pt x="79235" y="96398"/>
                  </a:lnTo>
                  <a:lnTo>
                    <a:pt x="15336" y="32558"/>
                  </a:lnTo>
                  <a:lnTo>
                    <a:pt x="31950" y="15960"/>
                  </a:lnTo>
                  <a:close/>
                </a:path>
              </a:pathLst>
            </a:custGeom>
            <a:grpFill/>
            <a:ln w="6390" cap="flat">
              <a:noFill/>
              <a:prstDash val="solid"/>
              <a:miter/>
            </a:ln>
          </p:spPr>
          <p:txBody>
            <a:bodyPr rtlCol="0" anchor="ctr"/>
            <a:lstStyle/>
            <a:p>
              <a:endParaRPr lang="en-US"/>
            </a:p>
          </p:txBody>
        </p:sp>
        <p:sp>
          <p:nvSpPr>
            <p:cNvPr id="662" name="Graphic 1100">
              <a:extLst>
                <a:ext uri="{FF2B5EF4-FFF2-40B4-BE49-F238E27FC236}">
                  <a16:creationId xmlns:a16="http://schemas.microsoft.com/office/drawing/2014/main" id="{6BC5E3FB-24CE-D691-EAF4-72F402FD764A}"/>
                </a:ext>
              </a:extLst>
            </p:cNvPr>
            <p:cNvSpPr/>
            <p:nvPr/>
          </p:nvSpPr>
          <p:spPr>
            <a:xfrm>
              <a:off x="5914525" y="5014305"/>
              <a:ext cx="38339" cy="12767"/>
            </a:xfrm>
            <a:custGeom>
              <a:avLst/>
              <a:gdLst>
                <a:gd name="connsiteX0" fmla="*/ 31950 w 38339"/>
                <a:gd name="connsiteY0" fmla="*/ 0 h 12767"/>
                <a:gd name="connsiteX1" fmla="*/ 6390 w 38339"/>
                <a:gd name="connsiteY1" fmla="*/ 0 h 12767"/>
                <a:gd name="connsiteX2" fmla="*/ 0 w 38339"/>
                <a:gd name="connsiteY2" fmla="*/ 6384 h 12767"/>
                <a:gd name="connsiteX3" fmla="*/ 6390 w 38339"/>
                <a:gd name="connsiteY3" fmla="*/ 12768 h 12767"/>
                <a:gd name="connsiteX4" fmla="*/ 31950 w 38339"/>
                <a:gd name="connsiteY4" fmla="*/ 12768 h 12767"/>
                <a:gd name="connsiteX5" fmla="*/ 38340 w 38339"/>
                <a:gd name="connsiteY5" fmla="*/ 6384 h 12767"/>
                <a:gd name="connsiteX6" fmla="*/ 31950 w 38339"/>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39" h="12767">
                  <a:moveTo>
                    <a:pt x="31950" y="0"/>
                  </a:moveTo>
                  <a:lnTo>
                    <a:pt x="6390" y="0"/>
                  </a:lnTo>
                  <a:cubicBezTo>
                    <a:pt x="2556" y="0"/>
                    <a:pt x="0" y="2553"/>
                    <a:pt x="0" y="6384"/>
                  </a:cubicBezTo>
                  <a:cubicBezTo>
                    <a:pt x="0" y="10214"/>
                    <a:pt x="2556" y="12768"/>
                    <a:pt x="6390" y="12768"/>
                  </a:cubicBezTo>
                  <a:lnTo>
                    <a:pt x="31950" y="12768"/>
                  </a:lnTo>
                  <a:cubicBezTo>
                    <a:pt x="35784" y="12768"/>
                    <a:pt x="38340" y="10214"/>
                    <a:pt x="38340" y="6384"/>
                  </a:cubicBezTo>
                  <a:cubicBezTo>
                    <a:pt x="38340" y="2553"/>
                    <a:pt x="35145" y="0"/>
                    <a:pt x="31950" y="0"/>
                  </a:cubicBezTo>
                  <a:close/>
                </a:path>
              </a:pathLst>
            </a:custGeom>
            <a:grpFill/>
            <a:ln w="6390" cap="flat">
              <a:noFill/>
              <a:prstDash val="solid"/>
              <a:miter/>
            </a:ln>
          </p:spPr>
          <p:txBody>
            <a:bodyPr rtlCol="0" anchor="ctr"/>
            <a:lstStyle/>
            <a:p>
              <a:endParaRPr lang="en-US"/>
            </a:p>
          </p:txBody>
        </p:sp>
        <p:sp>
          <p:nvSpPr>
            <p:cNvPr id="663" name="Graphic 1100">
              <a:extLst>
                <a:ext uri="{FF2B5EF4-FFF2-40B4-BE49-F238E27FC236}">
                  <a16:creationId xmlns:a16="http://schemas.microsoft.com/office/drawing/2014/main" id="{E5B55924-4EAD-45CA-DB6E-EF08112A708B}"/>
                </a:ext>
              </a:extLst>
            </p:cNvPr>
            <p:cNvSpPr/>
            <p:nvPr/>
          </p:nvSpPr>
          <p:spPr>
            <a:xfrm>
              <a:off x="5905579" y="4979832"/>
              <a:ext cx="47285" cy="12767"/>
            </a:xfrm>
            <a:custGeom>
              <a:avLst/>
              <a:gdLst>
                <a:gd name="connsiteX0" fmla="*/ 40895 w 47285"/>
                <a:gd name="connsiteY0" fmla="*/ 0 h 12767"/>
                <a:gd name="connsiteX1" fmla="*/ 6390 w 47285"/>
                <a:gd name="connsiteY1" fmla="*/ 0 h 12767"/>
                <a:gd name="connsiteX2" fmla="*/ 0 w 47285"/>
                <a:gd name="connsiteY2" fmla="*/ 6384 h 12767"/>
                <a:gd name="connsiteX3" fmla="*/ 6390 w 47285"/>
                <a:gd name="connsiteY3" fmla="*/ 12768 h 12767"/>
                <a:gd name="connsiteX4" fmla="*/ 40895 w 47285"/>
                <a:gd name="connsiteY4" fmla="*/ 12768 h 12767"/>
                <a:gd name="connsiteX5" fmla="*/ 47285 w 47285"/>
                <a:gd name="connsiteY5" fmla="*/ 6384 h 12767"/>
                <a:gd name="connsiteX6" fmla="*/ 40895 w 47285"/>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85" h="12767">
                  <a:moveTo>
                    <a:pt x="40895" y="0"/>
                  </a:moveTo>
                  <a:lnTo>
                    <a:pt x="6390" y="0"/>
                  </a:lnTo>
                  <a:cubicBezTo>
                    <a:pt x="2556" y="0"/>
                    <a:pt x="0" y="2554"/>
                    <a:pt x="0" y="6384"/>
                  </a:cubicBezTo>
                  <a:cubicBezTo>
                    <a:pt x="0" y="10215"/>
                    <a:pt x="2556" y="12768"/>
                    <a:pt x="6390" y="12768"/>
                  </a:cubicBezTo>
                  <a:lnTo>
                    <a:pt x="40895" y="12768"/>
                  </a:lnTo>
                  <a:cubicBezTo>
                    <a:pt x="44730" y="12768"/>
                    <a:pt x="47285" y="10215"/>
                    <a:pt x="47285" y="6384"/>
                  </a:cubicBezTo>
                  <a:cubicBezTo>
                    <a:pt x="47285" y="2554"/>
                    <a:pt x="44090" y="0"/>
                    <a:pt x="40895" y="0"/>
                  </a:cubicBezTo>
                  <a:close/>
                </a:path>
              </a:pathLst>
            </a:custGeom>
            <a:grpFill/>
            <a:ln w="6390" cap="flat">
              <a:noFill/>
              <a:prstDash val="solid"/>
              <a:miter/>
            </a:ln>
          </p:spPr>
          <p:txBody>
            <a:bodyPr rtlCol="0" anchor="ctr"/>
            <a:lstStyle/>
            <a:p>
              <a:endParaRPr lang="en-US"/>
            </a:p>
          </p:txBody>
        </p:sp>
      </p:grpSp>
      <p:grpSp>
        <p:nvGrpSpPr>
          <p:cNvPr id="664" name="Graphic 4">
            <a:extLst>
              <a:ext uri="{FF2B5EF4-FFF2-40B4-BE49-F238E27FC236}">
                <a16:creationId xmlns:a16="http://schemas.microsoft.com/office/drawing/2014/main" id="{A4A86BC5-F32C-013D-2935-6DF16F621D85}"/>
              </a:ext>
            </a:extLst>
          </p:cNvPr>
          <p:cNvGrpSpPr>
            <a:grpSpLocks noChangeAspect="1"/>
          </p:cNvGrpSpPr>
          <p:nvPr/>
        </p:nvGrpSpPr>
        <p:grpSpPr>
          <a:xfrm>
            <a:off x="7806839" y="3830417"/>
            <a:ext cx="393794" cy="432182"/>
            <a:chOff x="1589177" y="981380"/>
            <a:chExt cx="214062" cy="234930"/>
          </a:xfrm>
          <a:solidFill>
            <a:srgbClr val="0D8390"/>
          </a:solidFill>
        </p:grpSpPr>
        <p:sp>
          <p:nvSpPr>
            <p:cNvPr id="666" name="Graphic 4">
              <a:extLst>
                <a:ext uri="{FF2B5EF4-FFF2-40B4-BE49-F238E27FC236}">
                  <a16:creationId xmlns:a16="http://schemas.microsoft.com/office/drawing/2014/main" id="{9E231BE9-E475-09A1-37D5-625D1C67FDDC}"/>
                </a:ext>
              </a:extLst>
            </p:cNvPr>
            <p:cNvSpPr/>
            <p:nvPr/>
          </p:nvSpPr>
          <p:spPr>
            <a:xfrm>
              <a:off x="1589177" y="981380"/>
              <a:ext cx="214062" cy="234930"/>
            </a:xfrm>
            <a:custGeom>
              <a:avLst/>
              <a:gdLst>
                <a:gd name="connsiteX0" fmla="*/ 198727 w 214062"/>
                <a:gd name="connsiteY0" fmla="*/ 28089 h 234930"/>
                <a:gd name="connsiteX1" fmla="*/ 163582 w 214062"/>
                <a:gd name="connsiteY1" fmla="*/ 28089 h 234930"/>
                <a:gd name="connsiteX2" fmla="*/ 163582 w 214062"/>
                <a:gd name="connsiteY2" fmla="*/ 6384 h 234930"/>
                <a:gd name="connsiteX3" fmla="*/ 157192 w 214062"/>
                <a:gd name="connsiteY3" fmla="*/ 0 h 234930"/>
                <a:gd name="connsiteX4" fmla="*/ 54953 w 214062"/>
                <a:gd name="connsiteY4" fmla="*/ 0 h 234930"/>
                <a:gd name="connsiteX5" fmla="*/ 48563 w 214062"/>
                <a:gd name="connsiteY5" fmla="*/ 6384 h 234930"/>
                <a:gd name="connsiteX6" fmla="*/ 48563 w 214062"/>
                <a:gd name="connsiteY6" fmla="*/ 62563 h 234930"/>
                <a:gd name="connsiteX7" fmla="*/ 54953 w 214062"/>
                <a:gd name="connsiteY7" fmla="*/ 68947 h 234930"/>
                <a:gd name="connsiteX8" fmla="*/ 99683 w 214062"/>
                <a:gd name="connsiteY8" fmla="*/ 68947 h 234930"/>
                <a:gd name="connsiteX9" fmla="*/ 99683 w 214062"/>
                <a:gd name="connsiteY9" fmla="*/ 82992 h 234930"/>
                <a:gd name="connsiteX10" fmla="*/ 54953 w 214062"/>
                <a:gd name="connsiteY10" fmla="*/ 82992 h 234930"/>
                <a:gd name="connsiteX11" fmla="*/ 48563 w 214062"/>
                <a:gd name="connsiteY11" fmla="*/ 89376 h 234930"/>
                <a:gd name="connsiteX12" fmla="*/ 48563 w 214062"/>
                <a:gd name="connsiteY12" fmla="*/ 145555 h 234930"/>
                <a:gd name="connsiteX13" fmla="*/ 54953 w 214062"/>
                <a:gd name="connsiteY13" fmla="*/ 151939 h 234930"/>
                <a:gd name="connsiteX14" fmla="*/ 99683 w 214062"/>
                <a:gd name="connsiteY14" fmla="*/ 151939 h 234930"/>
                <a:gd name="connsiteX15" fmla="*/ 99683 w 214062"/>
                <a:gd name="connsiteY15" fmla="*/ 165984 h 234930"/>
                <a:gd name="connsiteX16" fmla="*/ 54953 w 214062"/>
                <a:gd name="connsiteY16" fmla="*/ 165984 h 234930"/>
                <a:gd name="connsiteX17" fmla="*/ 48563 w 214062"/>
                <a:gd name="connsiteY17" fmla="*/ 172368 h 234930"/>
                <a:gd name="connsiteX18" fmla="*/ 48563 w 214062"/>
                <a:gd name="connsiteY18" fmla="*/ 194073 h 234930"/>
                <a:gd name="connsiteX19" fmla="*/ 14697 w 214062"/>
                <a:gd name="connsiteY19" fmla="*/ 194073 h 234930"/>
                <a:gd name="connsiteX20" fmla="*/ 12780 w 214062"/>
                <a:gd name="connsiteY20" fmla="*/ 192158 h 234930"/>
                <a:gd name="connsiteX21" fmla="*/ 12780 w 214062"/>
                <a:gd name="connsiteY21" fmla="*/ 42134 h 234930"/>
                <a:gd name="connsiteX22" fmla="*/ 14697 w 214062"/>
                <a:gd name="connsiteY22" fmla="*/ 40219 h 234930"/>
                <a:gd name="connsiteX23" fmla="*/ 24282 w 214062"/>
                <a:gd name="connsiteY23" fmla="*/ 40219 h 234930"/>
                <a:gd name="connsiteX24" fmla="*/ 22365 w 214062"/>
                <a:gd name="connsiteY24" fmla="*/ 42134 h 234930"/>
                <a:gd name="connsiteX25" fmla="*/ 22365 w 214062"/>
                <a:gd name="connsiteY25" fmla="*/ 51072 h 234930"/>
                <a:gd name="connsiteX26" fmla="*/ 31311 w 214062"/>
                <a:gd name="connsiteY26" fmla="*/ 51072 h 234930"/>
                <a:gd name="connsiteX27" fmla="*/ 31311 w 214062"/>
                <a:gd name="connsiteY27" fmla="*/ 51072 h 234930"/>
                <a:gd name="connsiteX28" fmla="*/ 44091 w 214062"/>
                <a:gd name="connsiteY28" fmla="*/ 38304 h 234930"/>
                <a:gd name="connsiteX29" fmla="*/ 44091 w 214062"/>
                <a:gd name="connsiteY29" fmla="*/ 29366 h 234930"/>
                <a:gd name="connsiteX30" fmla="*/ 44091 w 214062"/>
                <a:gd name="connsiteY30" fmla="*/ 29366 h 234930"/>
                <a:gd name="connsiteX31" fmla="*/ 31311 w 214062"/>
                <a:gd name="connsiteY31" fmla="*/ 16598 h 234930"/>
                <a:gd name="connsiteX32" fmla="*/ 22365 w 214062"/>
                <a:gd name="connsiteY32" fmla="*/ 16598 h 234930"/>
                <a:gd name="connsiteX33" fmla="*/ 22365 w 214062"/>
                <a:gd name="connsiteY33" fmla="*/ 16598 h 234930"/>
                <a:gd name="connsiteX34" fmla="*/ 22365 w 214062"/>
                <a:gd name="connsiteY34" fmla="*/ 25536 h 234930"/>
                <a:gd name="connsiteX35" fmla="*/ 24282 w 214062"/>
                <a:gd name="connsiteY35" fmla="*/ 27451 h 234930"/>
                <a:gd name="connsiteX36" fmla="*/ 14697 w 214062"/>
                <a:gd name="connsiteY36" fmla="*/ 27451 h 234930"/>
                <a:gd name="connsiteX37" fmla="*/ 0 w 214062"/>
                <a:gd name="connsiteY37" fmla="*/ 42134 h 234930"/>
                <a:gd name="connsiteX38" fmla="*/ 0 w 214062"/>
                <a:gd name="connsiteY38" fmla="*/ 192158 h 234930"/>
                <a:gd name="connsiteX39" fmla="*/ 14697 w 214062"/>
                <a:gd name="connsiteY39" fmla="*/ 206841 h 234930"/>
                <a:gd name="connsiteX40" fmla="*/ 49202 w 214062"/>
                <a:gd name="connsiteY40" fmla="*/ 206841 h 234930"/>
                <a:gd name="connsiteX41" fmla="*/ 49202 w 214062"/>
                <a:gd name="connsiteY41" fmla="*/ 228546 h 234930"/>
                <a:gd name="connsiteX42" fmla="*/ 55592 w 214062"/>
                <a:gd name="connsiteY42" fmla="*/ 234930 h 234930"/>
                <a:gd name="connsiteX43" fmla="*/ 157831 w 214062"/>
                <a:gd name="connsiteY43" fmla="*/ 234930 h 234930"/>
                <a:gd name="connsiteX44" fmla="*/ 164221 w 214062"/>
                <a:gd name="connsiteY44" fmla="*/ 228546 h 234930"/>
                <a:gd name="connsiteX45" fmla="*/ 164221 w 214062"/>
                <a:gd name="connsiteY45" fmla="*/ 172368 h 234930"/>
                <a:gd name="connsiteX46" fmla="*/ 157831 w 214062"/>
                <a:gd name="connsiteY46" fmla="*/ 165984 h 234930"/>
                <a:gd name="connsiteX47" fmla="*/ 113102 w 214062"/>
                <a:gd name="connsiteY47" fmla="*/ 165984 h 234930"/>
                <a:gd name="connsiteX48" fmla="*/ 113102 w 214062"/>
                <a:gd name="connsiteY48" fmla="*/ 151939 h 234930"/>
                <a:gd name="connsiteX49" fmla="*/ 157831 w 214062"/>
                <a:gd name="connsiteY49" fmla="*/ 151939 h 234930"/>
                <a:gd name="connsiteX50" fmla="*/ 164221 w 214062"/>
                <a:gd name="connsiteY50" fmla="*/ 145555 h 234930"/>
                <a:gd name="connsiteX51" fmla="*/ 164221 w 214062"/>
                <a:gd name="connsiteY51" fmla="*/ 89376 h 234930"/>
                <a:gd name="connsiteX52" fmla="*/ 157831 w 214062"/>
                <a:gd name="connsiteY52" fmla="*/ 82992 h 234930"/>
                <a:gd name="connsiteX53" fmla="*/ 113102 w 214062"/>
                <a:gd name="connsiteY53" fmla="*/ 82992 h 234930"/>
                <a:gd name="connsiteX54" fmla="*/ 113102 w 214062"/>
                <a:gd name="connsiteY54" fmla="*/ 68947 h 234930"/>
                <a:gd name="connsiteX55" fmla="*/ 157831 w 214062"/>
                <a:gd name="connsiteY55" fmla="*/ 68947 h 234930"/>
                <a:gd name="connsiteX56" fmla="*/ 164221 w 214062"/>
                <a:gd name="connsiteY56" fmla="*/ 62563 h 234930"/>
                <a:gd name="connsiteX57" fmla="*/ 164221 w 214062"/>
                <a:gd name="connsiteY57" fmla="*/ 40857 h 234930"/>
                <a:gd name="connsiteX58" fmla="*/ 199366 w 214062"/>
                <a:gd name="connsiteY58" fmla="*/ 40857 h 234930"/>
                <a:gd name="connsiteX59" fmla="*/ 201283 w 214062"/>
                <a:gd name="connsiteY59" fmla="*/ 42773 h 234930"/>
                <a:gd name="connsiteX60" fmla="*/ 201283 w 214062"/>
                <a:gd name="connsiteY60" fmla="*/ 42773 h 234930"/>
                <a:gd name="connsiteX61" fmla="*/ 201283 w 214062"/>
                <a:gd name="connsiteY61" fmla="*/ 192796 h 234930"/>
                <a:gd name="connsiteX62" fmla="*/ 199366 w 214062"/>
                <a:gd name="connsiteY62" fmla="*/ 194711 h 234930"/>
                <a:gd name="connsiteX63" fmla="*/ 199366 w 214062"/>
                <a:gd name="connsiteY63" fmla="*/ 194711 h 234930"/>
                <a:gd name="connsiteX64" fmla="*/ 189781 w 214062"/>
                <a:gd name="connsiteY64" fmla="*/ 194711 h 234930"/>
                <a:gd name="connsiteX65" fmla="*/ 191698 w 214062"/>
                <a:gd name="connsiteY65" fmla="*/ 192796 h 234930"/>
                <a:gd name="connsiteX66" fmla="*/ 191698 w 214062"/>
                <a:gd name="connsiteY66" fmla="*/ 183859 h 234930"/>
                <a:gd name="connsiteX67" fmla="*/ 182752 w 214062"/>
                <a:gd name="connsiteY67" fmla="*/ 183859 h 234930"/>
                <a:gd name="connsiteX68" fmla="*/ 169972 w 214062"/>
                <a:gd name="connsiteY68" fmla="*/ 196627 h 234930"/>
                <a:gd name="connsiteX69" fmla="*/ 169972 w 214062"/>
                <a:gd name="connsiteY69" fmla="*/ 205564 h 234930"/>
                <a:gd name="connsiteX70" fmla="*/ 169972 w 214062"/>
                <a:gd name="connsiteY70" fmla="*/ 205564 h 234930"/>
                <a:gd name="connsiteX71" fmla="*/ 182752 w 214062"/>
                <a:gd name="connsiteY71" fmla="*/ 218332 h 234930"/>
                <a:gd name="connsiteX72" fmla="*/ 187225 w 214062"/>
                <a:gd name="connsiteY72" fmla="*/ 220247 h 234930"/>
                <a:gd name="connsiteX73" fmla="*/ 193615 w 214062"/>
                <a:gd name="connsiteY73" fmla="*/ 213863 h 234930"/>
                <a:gd name="connsiteX74" fmla="*/ 191698 w 214062"/>
                <a:gd name="connsiteY74" fmla="*/ 209395 h 234930"/>
                <a:gd name="connsiteX75" fmla="*/ 189781 w 214062"/>
                <a:gd name="connsiteY75" fmla="*/ 207479 h 234930"/>
                <a:gd name="connsiteX76" fmla="*/ 199366 w 214062"/>
                <a:gd name="connsiteY76" fmla="*/ 207479 h 234930"/>
                <a:gd name="connsiteX77" fmla="*/ 214063 w 214062"/>
                <a:gd name="connsiteY77" fmla="*/ 192796 h 234930"/>
                <a:gd name="connsiteX78" fmla="*/ 214063 w 214062"/>
                <a:gd name="connsiteY78" fmla="*/ 192796 h 234930"/>
                <a:gd name="connsiteX79" fmla="*/ 214063 w 214062"/>
                <a:gd name="connsiteY79" fmla="*/ 42773 h 234930"/>
                <a:gd name="connsiteX80" fmla="*/ 198727 w 214062"/>
                <a:gd name="connsiteY80" fmla="*/ 28089 h 234930"/>
                <a:gd name="connsiteX81" fmla="*/ 198727 w 214062"/>
                <a:gd name="connsiteY81" fmla="*/ 28089 h 234930"/>
                <a:gd name="connsiteX82" fmla="*/ 151441 w 214062"/>
                <a:gd name="connsiteY82" fmla="*/ 222163 h 234930"/>
                <a:gd name="connsiteX83" fmla="*/ 61982 w 214062"/>
                <a:gd name="connsiteY83" fmla="*/ 222163 h 234930"/>
                <a:gd name="connsiteX84" fmla="*/ 61982 w 214062"/>
                <a:gd name="connsiteY84" fmla="*/ 178752 h 234930"/>
                <a:gd name="connsiteX85" fmla="*/ 151441 w 214062"/>
                <a:gd name="connsiteY85" fmla="*/ 178752 h 234930"/>
                <a:gd name="connsiteX86" fmla="*/ 151441 w 214062"/>
                <a:gd name="connsiteY86" fmla="*/ 222163 h 234930"/>
                <a:gd name="connsiteX87" fmla="*/ 151441 w 214062"/>
                <a:gd name="connsiteY87" fmla="*/ 139171 h 234930"/>
                <a:gd name="connsiteX88" fmla="*/ 61982 w 214062"/>
                <a:gd name="connsiteY88" fmla="*/ 139171 h 234930"/>
                <a:gd name="connsiteX89" fmla="*/ 61982 w 214062"/>
                <a:gd name="connsiteY89" fmla="*/ 95760 h 234930"/>
                <a:gd name="connsiteX90" fmla="*/ 151441 w 214062"/>
                <a:gd name="connsiteY90" fmla="*/ 95760 h 234930"/>
                <a:gd name="connsiteX91" fmla="*/ 151441 w 214062"/>
                <a:gd name="connsiteY91" fmla="*/ 139171 h 234930"/>
                <a:gd name="connsiteX92" fmla="*/ 151441 w 214062"/>
                <a:gd name="connsiteY92" fmla="*/ 56179 h 234930"/>
                <a:gd name="connsiteX93" fmla="*/ 61982 w 214062"/>
                <a:gd name="connsiteY93" fmla="*/ 56179 h 234930"/>
                <a:gd name="connsiteX94" fmla="*/ 61982 w 214062"/>
                <a:gd name="connsiteY94" fmla="*/ 12768 h 234930"/>
                <a:gd name="connsiteX95" fmla="*/ 151441 w 214062"/>
                <a:gd name="connsiteY95" fmla="*/ 12768 h 234930"/>
                <a:gd name="connsiteX96" fmla="*/ 151441 w 214062"/>
                <a:gd name="connsiteY96" fmla="*/ 56179 h 23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214062" h="234930">
                  <a:moveTo>
                    <a:pt x="198727" y="28089"/>
                  </a:moveTo>
                  <a:lnTo>
                    <a:pt x="163582" y="28089"/>
                  </a:lnTo>
                  <a:lnTo>
                    <a:pt x="163582" y="6384"/>
                  </a:lnTo>
                  <a:cubicBezTo>
                    <a:pt x="163582" y="2554"/>
                    <a:pt x="161026" y="0"/>
                    <a:pt x="157192" y="0"/>
                  </a:cubicBezTo>
                  <a:lnTo>
                    <a:pt x="54953" y="0"/>
                  </a:lnTo>
                  <a:cubicBezTo>
                    <a:pt x="51120" y="0"/>
                    <a:pt x="48563" y="2554"/>
                    <a:pt x="48563" y="6384"/>
                  </a:cubicBezTo>
                  <a:lnTo>
                    <a:pt x="48563" y="62563"/>
                  </a:lnTo>
                  <a:cubicBezTo>
                    <a:pt x="48563" y="66393"/>
                    <a:pt x="51120" y="68947"/>
                    <a:pt x="54953" y="68947"/>
                  </a:cubicBezTo>
                  <a:lnTo>
                    <a:pt x="99683" y="68947"/>
                  </a:lnTo>
                  <a:lnTo>
                    <a:pt x="99683" y="82992"/>
                  </a:lnTo>
                  <a:lnTo>
                    <a:pt x="54953" y="82992"/>
                  </a:lnTo>
                  <a:cubicBezTo>
                    <a:pt x="51120" y="82992"/>
                    <a:pt x="48563" y="85545"/>
                    <a:pt x="48563" y="89376"/>
                  </a:cubicBezTo>
                  <a:lnTo>
                    <a:pt x="48563" y="145555"/>
                  </a:lnTo>
                  <a:cubicBezTo>
                    <a:pt x="48563" y="149385"/>
                    <a:pt x="51120" y="151939"/>
                    <a:pt x="54953" y="151939"/>
                  </a:cubicBezTo>
                  <a:lnTo>
                    <a:pt x="99683" y="151939"/>
                  </a:lnTo>
                  <a:lnTo>
                    <a:pt x="99683" y="165984"/>
                  </a:lnTo>
                  <a:lnTo>
                    <a:pt x="54953" y="165984"/>
                  </a:lnTo>
                  <a:cubicBezTo>
                    <a:pt x="51120" y="165984"/>
                    <a:pt x="48563" y="168537"/>
                    <a:pt x="48563" y="172368"/>
                  </a:cubicBezTo>
                  <a:lnTo>
                    <a:pt x="48563" y="194073"/>
                  </a:lnTo>
                  <a:lnTo>
                    <a:pt x="14697" y="194073"/>
                  </a:lnTo>
                  <a:cubicBezTo>
                    <a:pt x="14058" y="194073"/>
                    <a:pt x="12780" y="193435"/>
                    <a:pt x="12780" y="192158"/>
                  </a:cubicBezTo>
                  <a:lnTo>
                    <a:pt x="12780" y="42134"/>
                  </a:lnTo>
                  <a:cubicBezTo>
                    <a:pt x="12780" y="41496"/>
                    <a:pt x="13419" y="40219"/>
                    <a:pt x="14697" y="40219"/>
                  </a:cubicBezTo>
                  <a:lnTo>
                    <a:pt x="24282" y="40219"/>
                  </a:lnTo>
                  <a:lnTo>
                    <a:pt x="22365" y="42134"/>
                  </a:lnTo>
                  <a:cubicBezTo>
                    <a:pt x="19809" y="44688"/>
                    <a:pt x="19809" y="48518"/>
                    <a:pt x="22365" y="51072"/>
                  </a:cubicBezTo>
                  <a:cubicBezTo>
                    <a:pt x="24921" y="53625"/>
                    <a:pt x="28755" y="53625"/>
                    <a:pt x="31311" y="51072"/>
                  </a:cubicBezTo>
                  <a:cubicBezTo>
                    <a:pt x="31311" y="51072"/>
                    <a:pt x="31311" y="51072"/>
                    <a:pt x="31311" y="51072"/>
                  </a:cubicBezTo>
                  <a:lnTo>
                    <a:pt x="44091" y="38304"/>
                  </a:lnTo>
                  <a:cubicBezTo>
                    <a:pt x="46647" y="35750"/>
                    <a:pt x="46647" y="31920"/>
                    <a:pt x="44091" y="29366"/>
                  </a:cubicBezTo>
                  <a:cubicBezTo>
                    <a:pt x="44091" y="29366"/>
                    <a:pt x="44091" y="29366"/>
                    <a:pt x="44091" y="29366"/>
                  </a:cubicBezTo>
                  <a:lnTo>
                    <a:pt x="31311" y="16598"/>
                  </a:lnTo>
                  <a:cubicBezTo>
                    <a:pt x="28755" y="14045"/>
                    <a:pt x="24921" y="14045"/>
                    <a:pt x="22365" y="16598"/>
                  </a:cubicBezTo>
                  <a:cubicBezTo>
                    <a:pt x="22365" y="16598"/>
                    <a:pt x="22365" y="16598"/>
                    <a:pt x="22365" y="16598"/>
                  </a:cubicBezTo>
                  <a:cubicBezTo>
                    <a:pt x="19809" y="19152"/>
                    <a:pt x="19809" y="22982"/>
                    <a:pt x="22365" y="25536"/>
                  </a:cubicBezTo>
                  <a:lnTo>
                    <a:pt x="24282" y="27451"/>
                  </a:lnTo>
                  <a:lnTo>
                    <a:pt x="14697" y="27451"/>
                  </a:lnTo>
                  <a:cubicBezTo>
                    <a:pt x="7029" y="27451"/>
                    <a:pt x="0" y="33835"/>
                    <a:pt x="0" y="42134"/>
                  </a:cubicBezTo>
                  <a:lnTo>
                    <a:pt x="0" y="192158"/>
                  </a:lnTo>
                  <a:cubicBezTo>
                    <a:pt x="0" y="199819"/>
                    <a:pt x="6390" y="206841"/>
                    <a:pt x="14697" y="206841"/>
                  </a:cubicBezTo>
                  <a:lnTo>
                    <a:pt x="49202" y="206841"/>
                  </a:lnTo>
                  <a:lnTo>
                    <a:pt x="49202" y="228546"/>
                  </a:lnTo>
                  <a:cubicBezTo>
                    <a:pt x="49202" y="232377"/>
                    <a:pt x="51758" y="234930"/>
                    <a:pt x="55592" y="234930"/>
                  </a:cubicBezTo>
                  <a:lnTo>
                    <a:pt x="157831" y="234930"/>
                  </a:lnTo>
                  <a:cubicBezTo>
                    <a:pt x="161665" y="234930"/>
                    <a:pt x="164221" y="232377"/>
                    <a:pt x="164221" y="228546"/>
                  </a:cubicBezTo>
                  <a:lnTo>
                    <a:pt x="164221" y="172368"/>
                  </a:lnTo>
                  <a:cubicBezTo>
                    <a:pt x="164221" y="168537"/>
                    <a:pt x="161665" y="165984"/>
                    <a:pt x="157831" y="165984"/>
                  </a:cubicBezTo>
                  <a:lnTo>
                    <a:pt x="113102" y="165984"/>
                  </a:lnTo>
                  <a:lnTo>
                    <a:pt x="113102" y="151939"/>
                  </a:lnTo>
                  <a:lnTo>
                    <a:pt x="157831" y="151939"/>
                  </a:lnTo>
                  <a:cubicBezTo>
                    <a:pt x="161665" y="151939"/>
                    <a:pt x="164221" y="149385"/>
                    <a:pt x="164221" y="145555"/>
                  </a:cubicBezTo>
                  <a:lnTo>
                    <a:pt x="164221" y="89376"/>
                  </a:lnTo>
                  <a:cubicBezTo>
                    <a:pt x="164221" y="85545"/>
                    <a:pt x="161665" y="82992"/>
                    <a:pt x="157831" y="82992"/>
                  </a:cubicBezTo>
                  <a:lnTo>
                    <a:pt x="113102" y="82992"/>
                  </a:lnTo>
                  <a:lnTo>
                    <a:pt x="113102" y="68947"/>
                  </a:lnTo>
                  <a:lnTo>
                    <a:pt x="157831" y="68947"/>
                  </a:lnTo>
                  <a:cubicBezTo>
                    <a:pt x="161665" y="68947"/>
                    <a:pt x="164221" y="66393"/>
                    <a:pt x="164221" y="62563"/>
                  </a:cubicBezTo>
                  <a:lnTo>
                    <a:pt x="164221" y="40857"/>
                  </a:lnTo>
                  <a:lnTo>
                    <a:pt x="199366" y="40857"/>
                  </a:lnTo>
                  <a:cubicBezTo>
                    <a:pt x="200005" y="40857"/>
                    <a:pt x="201283" y="41496"/>
                    <a:pt x="201283" y="42773"/>
                  </a:cubicBezTo>
                  <a:lnTo>
                    <a:pt x="201283" y="42773"/>
                  </a:lnTo>
                  <a:lnTo>
                    <a:pt x="201283" y="192796"/>
                  </a:lnTo>
                  <a:cubicBezTo>
                    <a:pt x="201283" y="193435"/>
                    <a:pt x="200644" y="194711"/>
                    <a:pt x="199366" y="194711"/>
                  </a:cubicBezTo>
                  <a:lnTo>
                    <a:pt x="199366" y="194711"/>
                  </a:lnTo>
                  <a:lnTo>
                    <a:pt x="189781" y="194711"/>
                  </a:lnTo>
                  <a:lnTo>
                    <a:pt x="191698" y="192796"/>
                  </a:lnTo>
                  <a:cubicBezTo>
                    <a:pt x="194254" y="190243"/>
                    <a:pt x="194254" y="186412"/>
                    <a:pt x="191698" y="183859"/>
                  </a:cubicBezTo>
                  <a:cubicBezTo>
                    <a:pt x="189142" y="181305"/>
                    <a:pt x="185308" y="181305"/>
                    <a:pt x="182752" y="183859"/>
                  </a:cubicBezTo>
                  <a:lnTo>
                    <a:pt x="169972" y="196627"/>
                  </a:lnTo>
                  <a:cubicBezTo>
                    <a:pt x="167416" y="199180"/>
                    <a:pt x="167416" y="203011"/>
                    <a:pt x="169972" y="205564"/>
                  </a:cubicBezTo>
                  <a:cubicBezTo>
                    <a:pt x="169972" y="205564"/>
                    <a:pt x="169972" y="205564"/>
                    <a:pt x="169972" y="205564"/>
                  </a:cubicBezTo>
                  <a:lnTo>
                    <a:pt x="182752" y="218332"/>
                  </a:lnTo>
                  <a:cubicBezTo>
                    <a:pt x="184030" y="219609"/>
                    <a:pt x="185308" y="220247"/>
                    <a:pt x="187225" y="220247"/>
                  </a:cubicBezTo>
                  <a:cubicBezTo>
                    <a:pt x="191059" y="220247"/>
                    <a:pt x="193615" y="217055"/>
                    <a:pt x="193615" y="213863"/>
                  </a:cubicBezTo>
                  <a:cubicBezTo>
                    <a:pt x="193615" y="211948"/>
                    <a:pt x="192976" y="210671"/>
                    <a:pt x="191698" y="209395"/>
                  </a:cubicBezTo>
                  <a:lnTo>
                    <a:pt x="189781" y="207479"/>
                  </a:lnTo>
                  <a:lnTo>
                    <a:pt x="199366" y="207479"/>
                  </a:lnTo>
                  <a:cubicBezTo>
                    <a:pt x="207034" y="207479"/>
                    <a:pt x="214063" y="201095"/>
                    <a:pt x="214063" y="192796"/>
                  </a:cubicBezTo>
                  <a:lnTo>
                    <a:pt x="214063" y="192796"/>
                  </a:lnTo>
                  <a:lnTo>
                    <a:pt x="214063" y="42773"/>
                  </a:lnTo>
                  <a:cubicBezTo>
                    <a:pt x="213424" y="34473"/>
                    <a:pt x="207034" y="28089"/>
                    <a:pt x="198727" y="28089"/>
                  </a:cubicBezTo>
                  <a:lnTo>
                    <a:pt x="198727" y="28089"/>
                  </a:lnTo>
                  <a:close/>
                  <a:moveTo>
                    <a:pt x="151441" y="222163"/>
                  </a:moveTo>
                  <a:lnTo>
                    <a:pt x="61982" y="222163"/>
                  </a:lnTo>
                  <a:lnTo>
                    <a:pt x="61982" y="178752"/>
                  </a:lnTo>
                  <a:lnTo>
                    <a:pt x="151441" y="178752"/>
                  </a:lnTo>
                  <a:lnTo>
                    <a:pt x="151441" y="222163"/>
                  </a:lnTo>
                  <a:close/>
                  <a:moveTo>
                    <a:pt x="151441" y="139171"/>
                  </a:moveTo>
                  <a:lnTo>
                    <a:pt x="61982" y="139171"/>
                  </a:lnTo>
                  <a:lnTo>
                    <a:pt x="61982" y="95760"/>
                  </a:lnTo>
                  <a:lnTo>
                    <a:pt x="151441" y="95760"/>
                  </a:lnTo>
                  <a:lnTo>
                    <a:pt x="151441" y="139171"/>
                  </a:lnTo>
                  <a:close/>
                  <a:moveTo>
                    <a:pt x="151441" y="56179"/>
                  </a:moveTo>
                  <a:lnTo>
                    <a:pt x="61982" y="56179"/>
                  </a:lnTo>
                  <a:lnTo>
                    <a:pt x="61982" y="12768"/>
                  </a:lnTo>
                  <a:lnTo>
                    <a:pt x="151441" y="12768"/>
                  </a:lnTo>
                  <a:lnTo>
                    <a:pt x="151441" y="56179"/>
                  </a:lnTo>
                  <a:close/>
                </a:path>
              </a:pathLst>
            </a:custGeom>
            <a:grpFill/>
            <a:ln w="6390" cap="flat">
              <a:noFill/>
              <a:prstDash val="solid"/>
              <a:miter/>
            </a:ln>
          </p:spPr>
          <p:txBody>
            <a:bodyPr rtlCol="0" anchor="ctr"/>
            <a:lstStyle/>
            <a:p>
              <a:endParaRPr lang="en-US"/>
            </a:p>
          </p:txBody>
        </p:sp>
        <p:sp>
          <p:nvSpPr>
            <p:cNvPr id="667" name="Graphic 4">
              <a:extLst>
                <a:ext uri="{FF2B5EF4-FFF2-40B4-BE49-F238E27FC236}">
                  <a16:creationId xmlns:a16="http://schemas.microsoft.com/office/drawing/2014/main" id="{21E950A3-2C9B-0B7F-BD5F-AB4135C8FBE3}"/>
                </a:ext>
              </a:extLst>
            </p:cNvPr>
            <p:cNvSpPr/>
            <p:nvPr/>
          </p:nvSpPr>
          <p:spPr>
            <a:xfrm>
              <a:off x="1674163" y="1089269"/>
              <a:ext cx="20447" cy="20428"/>
            </a:xfrm>
            <a:custGeom>
              <a:avLst/>
              <a:gdLst>
                <a:gd name="connsiteX0" fmla="*/ 10224 w 20447"/>
                <a:gd name="connsiteY0" fmla="*/ 0 h 20428"/>
                <a:gd name="connsiteX1" fmla="*/ 0 w 20447"/>
                <a:gd name="connsiteY1" fmla="*/ 10214 h 20428"/>
                <a:gd name="connsiteX2" fmla="*/ 10224 w 20447"/>
                <a:gd name="connsiteY2" fmla="*/ 20429 h 20428"/>
                <a:gd name="connsiteX3" fmla="*/ 20448 w 20447"/>
                <a:gd name="connsiteY3" fmla="*/ 10214 h 20428"/>
                <a:gd name="connsiteX4" fmla="*/ 20448 w 20447"/>
                <a:gd name="connsiteY4" fmla="*/ 10214 h 20428"/>
                <a:gd name="connsiteX5" fmla="*/ 10224 w 20447"/>
                <a:gd name="connsiteY5" fmla="*/ 0 h 20428"/>
                <a:gd name="connsiteX6" fmla="*/ 10224 w 20447"/>
                <a:gd name="connsiteY6" fmla="*/ 12768 h 20428"/>
                <a:gd name="connsiteX7" fmla="*/ 7668 w 20447"/>
                <a:gd name="connsiteY7" fmla="*/ 10214 h 20428"/>
                <a:gd name="connsiteX8" fmla="*/ 10224 w 20447"/>
                <a:gd name="connsiteY8" fmla="*/ 7661 h 20428"/>
                <a:gd name="connsiteX9" fmla="*/ 10224 w 20447"/>
                <a:gd name="connsiteY9" fmla="*/ 7661 h 20428"/>
                <a:gd name="connsiteX10" fmla="*/ 12780 w 20447"/>
                <a:gd name="connsiteY10" fmla="*/ 10214 h 20428"/>
                <a:gd name="connsiteX11" fmla="*/ 10224 w 20447"/>
                <a:gd name="connsiteY11" fmla="*/ 12768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0"/>
                  </a:moveTo>
                  <a:cubicBezTo>
                    <a:pt x="4473" y="0"/>
                    <a:pt x="0" y="4469"/>
                    <a:pt x="0" y="10214"/>
                  </a:cubicBezTo>
                  <a:cubicBezTo>
                    <a:pt x="0" y="15960"/>
                    <a:pt x="4473" y="20429"/>
                    <a:pt x="10224" y="20429"/>
                  </a:cubicBezTo>
                  <a:cubicBezTo>
                    <a:pt x="15975" y="20429"/>
                    <a:pt x="20448" y="15960"/>
                    <a:pt x="20448" y="10214"/>
                  </a:cubicBezTo>
                  <a:cubicBezTo>
                    <a:pt x="20448" y="10214"/>
                    <a:pt x="20448" y="10214"/>
                    <a:pt x="20448" y="10214"/>
                  </a:cubicBezTo>
                  <a:cubicBezTo>
                    <a:pt x="19809" y="4469"/>
                    <a:pt x="15336" y="0"/>
                    <a:pt x="10224" y="0"/>
                  </a:cubicBezTo>
                  <a:close/>
                  <a:moveTo>
                    <a:pt x="10224" y="12768"/>
                  </a:moveTo>
                  <a:cubicBezTo>
                    <a:pt x="8946" y="12768"/>
                    <a:pt x="7668" y="11491"/>
                    <a:pt x="7668" y="10214"/>
                  </a:cubicBezTo>
                  <a:cubicBezTo>
                    <a:pt x="7668" y="8938"/>
                    <a:pt x="8946" y="7661"/>
                    <a:pt x="10224" y="7661"/>
                  </a:cubicBezTo>
                  <a:lnTo>
                    <a:pt x="10224" y="7661"/>
                  </a:lnTo>
                  <a:cubicBezTo>
                    <a:pt x="11502" y="7661"/>
                    <a:pt x="12780" y="8938"/>
                    <a:pt x="12780" y="10214"/>
                  </a:cubicBezTo>
                  <a:cubicBezTo>
                    <a:pt x="12780" y="11491"/>
                    <a:pt x="11502" y="12768"/>
                    <a:pt x="10224" y="12768"/>
                  </a:cubicBezTo>
                  <a:close/>
                </a:path>
              </a:pathLst>
            </a:custGeom>
            <a:grpFill/>
            <a:ln w="6390" cap="flat">
              <a:noFill/>
              <a:prstDash val="solid"/>
              <a:miter/>
            </a:ln>
          </p:spPr>
          <p:txBody>
            <a:bodyPr rtlCol="0" anchor="ctr"/>
            <a:lstStyle/>
            <a:p>
              <a:endParaRPr lang="en-US"/>
            </a:p>
          </p:txBody>
        </p:sp>
        <p:sp>
          <p:nvSpPr>
            <p:cNvPr id="668" name="Graphic 4">
              <a:extLst>
                <a:ext uri="{FF2B5EF4-FFF2-40B4-BE49-F238E27FC236}">
                  <a16:creationId xmlns:a16="http://schemas.microsoft.com/office/drawing/2014/main" id="{4E5A6054-A93A-9557-9826-F44EF448E77D}"/>
                </a:ext>
              </a:extLst>
            </p:cNvPr>
            <p:cNvSpPr/>
            <p:nvPr/>
          </p:nvSpPr>
          <p:spPr>
            <a:xfrm>
              <a:off x="1685665" y="1005639"/>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2780 w 20447"/>
                <a:gd name="connsiteY8" fmla="*/ 10214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lnTo>
                    <a:pt x="12780" y="10214"/>
                  </a:lnTo>
                  <a:cubicBezTo>
                    <a:pt x="12780" y="11491"/>
                    <a:pt x="11502" y="12768"/>
                    <a:pt x="10224" y="12768"/>
                  </a:cubicBezTo>
                  <a:cubicBezTo>
                    <a:pt x="8946" y="12768"/>
                    <a:pt x="7668" y="11491"/>
                    <a:pt x="7668" y="10214"/>
                  </a:cubicBezTo>
                  <a:cubicBezTo>
                    <a:pt x="7029" y="8938"/>
                    <a:pt x="8307" y="7661"/>
                    <a:pt x="10224" y="7661"/>
                  </a:cubicBezTo>
                  <a:close/>
                </a:path>
              </a:pathLst>
            </a:custGeom>
            <a:grpFill/>
            <a:ln w="6390" cap="flat">
              <a:noFill/>
              <a:prstDash val="solid"/>
              <a:miter/>
            </a:ln>
          </p:spPr>
          <p:txBody>
            <a:bodyPr rtlCol="0" anchor="ctr"/>
            <a:lstStyle/>
            <a:p>
              <a:endParaRPr lang="en-US"/>
            </a:p>
          </p:txBody>
        </p:sp>
        <p:sp>
          <p:nvSpPr>
            <p:cNvPr id="669" name="Graphic 4">
              <a:extLst>
                <a:ext uri="{FF2B5EF4-FFF2-40B4-BE49-F238E27FC236}">
                  <a16:creationId xmlns:a16="http://schemas.microsoft.com/office/drawing/2014/main" id="{DC20365A-A115-E328-C207-9D83847EAFEE}"/>
                </a:ext>
              </a:extLst>
            </p:cNvPr>
            <p:cNvSpPr/>
            <p:nvPr/>
          </p:nvSpPr>
          <p:spPr>
            <a:xfrm>
              <a:off x="1696528" y="1088631"/>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20429 h 20428"/>
                <a:gd name="connsiteX7" fmla="*/ 10224 w 20447"/>
                <a:gd name="connsiteY7" fmla="*/ 7661 h 20428"/>
                <a:gd name="connsiteX8" fmla="*/ 12780 w 20447"/>
                <a:gd name="connsiteY8" fmla="*/ 10214 h 20428"/>
                <a:gd name="connsiteX9" fmla="*/ 10224 w 20447"/>
                <a:gd name="connsiteY9" fmla="*/ 12768 h 20428"/>
                <a:gd name="connsiteX10" fmla="*/ 7668 w 20447"/>
                <a:gd name="connsiteY10" fmla="*/ 10214 h 20428"/>
                <a:gd name="connsiteX11" fmla="*/ 10224 w 20447"/>
                <a:gd name="connsiteY11" fmla="*/ 7661 h 20428"/>
                <a:gd name="connsiteX12" fmla="*/ 10224 w 20447"/>
                <a:gd name="connsiteY12"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639" y="15960"/>
                    <a:pt x="5112" y="20429"/>
                    <a:pt x="10224" y="20429"/>
                  </a:cubicBezTo>
                  <a:cubicBezTo>
                    <a:pt x="10224" y="20429"/>
                    <a:pt x="10224" y="20429"/>
                    <a:pt x="10224" y="20429"/>
                  </a:cubicBezTo>
                  <a:close/>
                  <a:moveTo>
                    <a:pt x="10224" y="7661"/>
                  </a:moveTo>
                  <a:cubicBezTo>
                    <a:pt x="11502" y="7661"/>
                    <a:pt x="12780" y="8938"/>
                    <a:pt x="12780" y="10214"/>
                  </a:cubicBezTo>
                  <a:cubicBezTo>
                    <a:pt x="12780" y="11491"/>
                    <a:pt x="11502" y="12768"/>
                    <a:pt x="10224" y="12768"/>
                  </a:cubicBezTo>
                  <a:cubicBezTo>
                    <a:pt x="8946" y="12768"/>
                    <a:pt x="7668" y="11491"/>
                    <a:pt x="7668" y="10214"/>
                  </a:cubicBezTo>
                  <a:cubicBezTo>
                    <a:pt x="7668" y="8938"/>
                    <a:pt x="8946" y="7661"/>
                    <a:pt x="10224" y="7661"/>
                  </a:cubicBezTo>
                  <a:lnTo>
                    <a:pt x="10224" y="7661"/>
                  </a:lnTo>
                  <a:close/>
                </a:path>
              </a:pathLst>
            </a:custGeom>
            <a:grpFill/>
            <a:ln w="6390" cap="flat">
              <a:noFill/>
              <a:prstDash val="solid"/>
              <a:miter/>
            </a:ln>
          </p:spPr>
          <p:txBody>
            <a:bodyPr rtlCol="0" anchor="ctr"/>
            <a:lstStyle/>
            <a:p>
              <a:endParaRPr lang="en-US"/>
            </a:p>
          </p:txBody>
        </p:sp>
        <p:sp>
          <p:nvSpPr>
            <p:cNvPr id="670" name="Graphic 4">
              <a:extLst>
                <a:ext uri="{FF2B5EF4-FFF2-40B4-BE49-F238E27FC236}">
                  <a16:creationId xmlns:a16="http://schemas.microsoft.com/office/drawing/2014/main" id="{3DC01FDA-C319-5F8D-73C9-730C2CC61B2A}"/>
                </a:ext>
              </a:extLst>
            </p:cNvPr>
            <p:cNvSpPr/>
            <p:nvPr/>
          </p:nvSpPr>
          <p:spPr>
            <a:xfrm>
              <a:off x="1685665" y="1171623"/>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cubicBezTo>
                    <a:pt x="12780" y="11491"/>
                    <a:pt x="11502" y="12768"/>
                    <a:pt x="10224" y="12768"/>
                  </a:cubicBezTo>
                  <a:lnTo>
                    <a:pt x="10224" y="12768"/>
                  </a:lnTo>
                  <a:cubicBezTo>
                    <a:pt x="8946" y="12768"/>
                    <a:pt x="7668" y="11491"/>
                    <a:pt x="7668" y="10214"/>
                  </a:cubicBezTo>
                  <a:cubicBezTo>
                    <a:pt x="7668" y="8938"/>
                    <a:pt x="8307" y="7661"/>
                    <a:pt x="10224" y="7661"/>
                  </a:cubicBezTo>
                  <a:close/>
                </a:path>
              </a:pathLst>
            </a:custGeom>
            <a:grpFill/>
            <a:ln w="6390" cap="flat">
              <a:noFill/>
              <a:prstDash val="solid"/>
              <a:miter/>
            </a:ln>
          </p:spPr>
          <p:txBody>
            <a:bodyPr rtlCol="0" anchor="ctr"/>
            <a:lstStyle/>
            <a:p>
              <a:endParaRPr lang="en-US"/>
            </a:p>
          </p:txBody>
        </p:sp>
        <p:sp>
          <p:nvSpPr>
            <p:cNvPr id="671" name="Graphic 4">
              <a:extLst>
                <a:ext uri="{FF2B5EF4-FFF2-40B4-BE49-F238E27FC236}">
                  <a16:creationId xmlns:a16="http://schemas.microsoft.com/office/drawing/2014/main" id="{385DD94C-6160-6BAA-FD82-DAC66BCC307D}"/>
                </a:ext>
              </a:extLst>
            </p:cNvPr>
            <p:cNvSpPr/>
            <p:nvPr/>
          </p:nvSpPr>
          <p:spPr>
            <a:xfrm>
              <a:off x="1660744" y="1171623"/>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10224 w 20447"/>
                <a:gd name="connsiteY4" fmla="*/ 20429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7668 w 20447"/>
                <a:gd name="connsiteY9" fmla="*/ 10214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5960"/>
                    <a:pt x="4473" y="20429"/>
                    <a:pt x="10224" y="20429"/>
                  </a:cubicBezTo>
                  <a:lnTo>
                    <a:pt x="10224" y="20429"/>
                  </a:lnTo>
                  <a:close/>
                  <a:moveTo>
                    <a:pt x="10224" y="7661"/>
                  </a:moveTo>
                  <a:cubicBezTo>
                    <a:pt x="11502" y="7661"/>
                    <a:pt x="12780" y="8938"/>
                    <a:pt x="12780" y="10214"/>
                  </a:cubicBezTo>
                  <a:cubicBezTo>
                    <a:pt x="12780" y="11491"/>
                    <a:pt x="11502" y="12768"/>
                    <a:pt x="10224" y="12768"/>
                  </a:cubicBezTo>
                  <a:cubicBezTo>
                    <a:pt x="8946" y="12768"/>
                    <a:pt x="7668" y="11491"/>
                    <a:pt x="7668" y="10214"/>
                  </a:cubicBezTo>
                  <a:lnTo>
                    <a:pt x="7668" y="10214"/>
                  </a:lnTo>
                  <a:cubicBezTo>
                    <a:pt x="7668" y="8938"/>
                    <a:pt x="8946" y="7661"/>
                    <a:pt x="10224" y="7661"/>
                  </a:cubicBezTo>
                  <a:close/>
                </a:path>
              </a:pathLst>
            </a:custGeom>
            <a:grpFill/>
            <a:ln w="6390" cap="flat">
              <a:noFill/>
              <a:prstDash val="solid"/>
              <a:miter/>
            </a:ln>
          </p:spPr>
          <p:txBody>
            <a:bodyPr rtlCol="0" anchor="ctr"/>
            <a:lstStyle/>
            <a:p>
              <a:endParaRPr lang="en-US"/>
            </a:p>
          </p:txBody>
        </p:sp>
        <p:sp>
          <p:nvSpPr>
            <p:cNvPr id="672" name="Graphic 4">
              <a:extLst>
                <a:ext uri="{FF2B5EF4-FFF2-40B4-BE49-F238E27FC236}">
                  <a16:creationId xmlns:a16="http://schemas.microsoft.com/office/drawing/2014/main" id="{9E25CDEF-3E55-A14A-A519-722D0581BE01}"/>
                </a:ext>
              </a:extLst>
            </p:cNvPr>
            <p:cNvSpPr/>
            <p:nvPr/>
          </p:nvSpPr>
          <p:spPr>
            <a:xfrm>
              <a:off x="1710586" y="1171623"/>
              <a:ext cx="20447" cy="20428"/>
            </a:xfrm>
            <a:custGeom>
              <a:avLst/>
              <a:gdLst>
                <a:gd name="connsiteX0" fmla="*/ 10224 w 20447"/>
                <a:gd name="connsiteY0" fmla="*/ 20429 h 20428"/>
                <a:gd name="connsiteX1" fmla="*/ 20448 w 20447"/>
                <a:gd name="connsiteY1" fmla="*/ 10214 h 20428"/>
                <a:gd name="connsiteX2" fmla="*/ 10224 w 20447"/>
                <a:gd name="connsiteY2" fmla="*/ 0 h 20428"/>
                <a:gd name="connsiteX3" fmla="*/ 0 w 20447"/>
                <a:gd name="connsiteY3" fmla="*/ 10214 h 20428"/>
                <a:gd name="connsiteX4" fmla="*/ 0 w 20447"/>
                <a:gd name="connsiteY4" fmla="*/ 10214 h 20428"/>
                <a:gd name="connsiteX5" fmla="*/ 10224 w 20447"/>
                <a:gd name="connsiteY5" fmla="*/ 20429 h 20428"/>
                <a:gd name="connsiteX6" fmla="*/ 10224 w 20447"/>
                <a:gd name="connsiteY6" fmla="*/ 7661 h 20428"/>
                <a:gd name="connsiteX7" fmla="*/ 12780 w 20447"/>
                <a:gd name="connsiteY7" fmla="*/ 10214 h 20428"/>
                <a:gd name="connsiteX8" fmla="*/ 10224 w 20447"/>
                <a:gd name="connsiteY8" fmla="*/ 12768 h 20428"/>
                <a:gd name="connsiteX9" fmla="*/ 10224 w 20447"/>
                <a:gd name="connsiteY9" fmla="*/ 12768 h 20428"/>
                <a:gd name="connsiteX10" fmla="*/ 7668 w 20447"/>
                <a:gd name="connsiteY10" fmla="*/ 10214 h 20428"/>
                <a:gd name="connsiteX11" fmla="*/ 10224 w 20447"/>
                <a:gd name="connsiteY11" fmla="*/ 7661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447" h="20428">
                  <a:moveTo>
                    <a:pt x="10224" y="20429"/>
                  </a:moveTo>
                  <a:cubicBezTo>
                    <a:pt x="15975" y="20429"/>
                    <a:pt x="20448" y="15960"/>
                    <a:pt x="20448" y="10214"/>
                  </a:cubicBezTo>
                  <a:cubicBezTo>
                    <a:pt x="20448" y="4469"/>
                    <a:pt x="15975" y="0"/>
                    <a:pt x="10224" y="0"/>
                  </a:cubicBezTo>
                  <a:cubicBezTo>
                    <a:pt x="4473" y="0"/>
                    <a:pt x="0" y="4469"/>
                    <a:pt x="0" y="10214"/>
                  </a:cubicBezTo>
                  <a:cubicBezTo>
                    <a:pt x="0" y="10214"/>
                    <a:pt x="0" y="10214"/>
                    <a:pt x="0" y="10214"/>
                  </a:cubicBezTo>
                  <a:cubicBezTo>
                    <a:pt x="0" y="15960"/>
                    <a:pt x="4473" y="20429"/>
                    <a:pt x="10224" y="20429"/>
                  </a:cubicBezTo>
                  <a:close/>
                  <a:moveTo>
                    <a:pt x="10224" y="7661"/>
                  </a:moveTo>
                  <a:cubicBezTo>
                    <a:pt x="11502" y="7661"/>
                    <a:pt x="12780" y="8938"/>
                    <a:pt x="12780" y="10214"/>
                  </a:cubicBezTo>
                  <a:cubicBezTo>
                    <a:pt x="12780" y="11491"/>
                    <a:pt x="11502" y="12768"/>
                    <a:pt x="10224" y="12768"/>
                  </a:cubicBezTo>
                  <a:lnTo>
                    <a:pt x="10224" y="12768"/>
                  </a:lnTo>
                  <a:cubicBezTo>
                    <a:pt x="8946" y="12768"/>
                    <a:pt x="7668" y="11491"/>
                    <a:pt x="7668" y="10214"/>
                  </a:cubicBezTo>
                  <a:cubicBezTo>
                    <a:pt x="7029" y="8938"/>
                    <a:pt x="8307" y="7661"/>
                    <a:pt x="10224" y="7661"/>
                  </a:cubicBezTo>
                  <a:close/>
                </a:path>
              </a:pathLst>
            </a:custGeom>
            <a:grpFill/>
            <a:ln w="6390" cap="flat">
              <a:noFill/>
              <a:prstDash val="solid"/>
              <a:miter/>
            </a:ln>
          </p:spPr>
          <p:txBody>
            <a:bodyPr rtlCol="0" anchor="ctr"/>
            <a:lstStyle/>
            <a:p>
              <a:endParaRPr lang="en-US"/>
            </a:p>
          </p:txBody>
        </p:sp>
      </p:grpSp>
      <p:grpSp>
        <p:nvGrpSpPr>
          <p:cNvPr id="673" name="Graphic 4">
            <a:extLst>
              <a:ext uri="{FF2B5EF4-FFF2-40B4-BE49-F238E27FC236}">
                <a16:creationId xmlns:a16="http://schemas.microsoft.com/office/drawing/2014/main" id="{527443D6-A2C6-FA51-BF28-5FF0F61B0F04}"/>
              </a:ext>
            </a:extLst>
          </p:cNvPr>
          <p:cNvGrpSpPr>
            <a:grpSpLocks noChangeAspect="1"/>
          </p:cNvGrpSpPr>
          <p:nvPr/>
        </p:nvGrpSpPr>
        <p:grpSpPr>
          <a:xfrm>
            <a:off x="5213576" y="3830417"/>
            <a:ext cx="525135" cy="527423"/>
            <a:chOff x="527808" y="2915088"/>
            <a:chExt cx="241539" cy="242591"/>
          </a:xfrm>
          <a:solidFill>
            <a:srgbClr val="009A44"/>
          </a:solidFill>
        </p:grpSpPr>
        <p:sp>
          <p:nvSpPr>
            <p:cNvPr id="675" name="Graphic 4">
              <a:extLst>
                <a:ext uri="{FF2B5EF4-FFF2-40B4-BE49-F238E27FC236}">
                  <a16:creationId xmlns:a16="http://schemas.microsoft.com/office/drawing/2014/main" id="{B756FA4C-64A2-0739-B6AC-110E3CA020A1}"/>
                </a:ext>
              </a:extLst>
            </p:cNvPr>
            <p:cNvSpPr/>
            <p:nvPr/>
          </p:nvSpPr>
          <p:spPr>
            <a:xfrm>
              <a:off x="603210" y="2977651"/>
              <a:ext cx="92015" cy="121295"/>
            </a:xfrm>
            <a:custGeom>
              <a:avLst/>
              <a:gdLst>
                <a:gd name="connsiteX0" fmla="*/ 92015 w 92015"/>
                <a:gd name="connsiteY0" fmla="*/ 45965 h 121295"/>
                <a:gd name="connsiteX1" fmla="*/ 46008 w 92015"/>
                <a:gd name="connsiteY1" fmla="*/ 0 h 121295"/>
                <a:gd name="connsiteX2" fmla="*/ 46008 w 92015"/>
                <a:gd name="connsiteY2" fmla="*/ 0 h 121295"/>
                <a:gd name="connsiteX3" fmla="*/ 0 w 92015"/>
                <a:gd name="connsiteY3" fmla="*/ 45965 h 121295"/>
                <a:gd name="connsiteX4" fmla="*/ 6390 w 92015"/>
                <a:gd name="connsiteY4" fmla="*/ 69586 h 121295"/>
                <a:gd name="connsiteX5" fmla="*/ 37701 w 92015"/>
                <a:gd name="connsiteY5" fmla="*/ 116827 h 121295"/>
                <a:gd name="connsiteX6" fmla="*/ 46008 w 92015"/>
                <a:gd name="connsiteY6" fmla="*/ 121296 h 121295"/>
                <a:gd name="connsiteX7" fmla="*/ 46008 w 92015"/>
                <a:gd name="connsiteY7" fmla="*/ 121296 h 121295"/>
                <a:gd name="connsiteX8" fmla="*/ 54314 w 92015"/>
                <a:gd name="connsiteY8" fmla="*/ 116827 h 121295"/>
                <a:gd name="connsiteX9" fmla="*/ 85625 w 92015"/>
                <a:gd name="connsiteY9" fmla="*/ 69586 h 121295"/>
                <a:gd name="connsiteX10" fmla="*/ 92015 w 92015"/>
                <a:gd name="connsiteY10" fmla="*/ 45965 h 121295"/>
                <a:gd name="connsiteX11" fmla="*/ 74762 w 92015"/>
                <a:gd name="connsiteY11" fmla="*/ 62563 h 121295"/>
                <a:gd name="connsiteX12" fmla="*/ 46008 w 92015"/>
                <a:gd name="connsiteY12" fmla="*/ 106613 h 121295"/>
                <a:gd name="connsiteX13" fmla="*/ 17253 w 92015"/>
                <a:gd name="connsiteY13" fmla="*/ 63202 h 121295"/>
                <a:gd name="connsiteX14" fmla="*/ 12780 w 92015"/>
                <a:gd name="connsiteY14" fmla="*/ 46603 h 121295"/>
                <a:gd name="connsiteX15" fmla="*/ 46008 w 92015"/>
                <a:gd name="connsiteY15" fmla="*/ 13406 h 121295"/>
                <a:gd name="connsiteX16" fmla="*/ 46647 w 92015"/>
                <a:gd name="connsiteY16" fmla="*/ 13406 h 121295"/>
                <a:gd name="connsiteX17" fmla="*/ 79874 w 92015"/>
                <a:gd name="connsiteY17" fmla="*/ 46603 h 121295"/>
                <a:gd name="connsiteX18" fmla="*/ 74762 w 92015"/>
                <a:gd name="connsiteY18" fmla="*/ 62563 h 121295"/>
                <a:gd name="connsiteX19" fmla="*/ 74762 w 92015"/>
                <a:gd name="connsiteY19" fmla="*/ 62563 h 12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015" h="121295">
                  <a:moveTo>
                    <a:pt x="92015" y="45965"/>
                  </a:moveTo>
                  <a:cubicBezTo>
                    <a:pt x="92015" y="20429"/>
                    <a:pt x="71567" y="0"/>
                    <a:pt x="46008" y="0"/>
                  </a:cubicBezTo>
                  <a:lnTo>
                    <a:pt x="46008" y="0"/>
                  </a:lnTo>
                  <a:cubicBezTo>
                    <a:pt x="20448" y="0"/>
                    <a:pt x="0" y="20429"/>
                    <a:pt x="0" y="45965"/>
                  </a:cubicBezTo>
                  <a:cubicBezTo>
                    <a:pt x="0" y="54264"/>
                    <a:pt x="1917" y="62563"/>
                    <a:pt x="6390" y="69586"/>
                  </a:cubicBezTo>
                  <a:lnTo>
                    <a:pt x="37701" y="116827"/>
                  </a:lnTo>
                  <a:cubicBezTo>
                    <a:pt x="39618" y="119381"/>
                    <a:pt x="42813" y="121296"/>
                    <a:pt x="46008" y="121296"/>
                  </a:cubicBezTo>
                  <a:lnTo>
                    <a:pt x="46008" y="121296"/>
                  </a:lnTo>
                  <a:cubicBezTo>
                    <a:pt x="49202" y="121296"/>
                    <a:pt x="52397" y="119381"/>
                    <a:pt x="54314" y="116827"/>
                  </a:cubicBezTo>
                  <a:lnTo>
                    <a:pt x="85625" y="69586"/>
                  </a:lnTo>
                  <a:cubicBezTo>
                    <a:pt x="89459" y="61925"/>
                    <a:pt x="92015" y="54264"/>
                    <a:pt x="92015" y="45965"/>
                  </a:cubicBezTo>
                  <a:close/>
                  <a:moveTo>
                    <a:pt x="74762" y="62563"/>
                  </a:moveTo>
                  <a:lnTo>
                    <a:pt x="46008" y="106613"/>
                  </a:lnTo>
                  <a:lnTo>
                    <a:pt x="17253" y="63202"/>
                  </a:lnTo>
                  <a:cubicBezTo>
                    <a:pt x="14058" y="58094"/>
                    <a:pt x="12141" y="52349"/>
                    <a:pt x="12780" y="46603"/>
                  </a:cubicBezTo>
                  <a:cubicBezTo>
                    <a:pt x="12780" y="28090"/>
                    <a:pt x="27477" y="13406"/>
                    <a:pt x="46008" y="13406"/>
                  </a:cubicBezTo>
                  <a:lnTo>
                    <a:pt x="46647" y="13406"/>
                  </a:lnTo>
                  <a:cubicBezTo>
                    <a:pt x="65177" y="13406"/>
                    <a:pt x="79874" y="28728"/>
                    <a:pt x="79874" y="46603"/>
                  </a:cubicBezTo>
                  <a:cubicBezTo>
                    <a:pt x="79235" y="51710"/>
                    <a:pt x="77957" y="57456"/>
                    <a:pt x="74762" y="62563"/>
                  </a:cubicBezTo>
                  <a:lnTo>
                    <a:pt x="74762" y="62563"/>
                  </a:lnTo>
                  <a:close/>
                </a:path>
              </a:pathLst>
            </a:custGeom>
            <a:grpFill/>
            <a:ln w="6390" cap="flat">
              <a:noFill/>
              <a:prstDash val="solid"/>
              <a:miter/>
            </a:ln>
          </p:spPr>
          <p:txBody>
            <a:bodyPr rtlCol="0" anchor="ctr"/>
            <a:lstStyle/>
            <a:p>
              <a:endParaRPr lang="en-US"/>
            </a:p>
          </p:txBody>
        </p:sp>
        <p:sp>
          <p:nvSpPr>
            <p:cNvPr id="676" name="Graphic 4">
              <a:extLst>
                <a:ext uri="{FF2B5EF4-FFF2-40B4-BE49-F238E27FC236}">
                  <a16:creationId xmlns:a16="http://schemas.microsoft.com/office/drawing/2014/main" id="{745CBD43-C9AF-ACB9-A68D-96EA232D7768}"/>
                </a:ext>
              </a:extLst>
            </p:cNvPr>
            <p:cNvSpPr/>
            <p:nvPr/>
          </p:nvSpPr>
          <p:spPr>
            <a:xfrm>
              <a:off x="624935" y="2999357"/>
              <a:ext cx="48563" cy="48518"/>
            </a:xfrm>
            <a:custGeom>
              <a:avLst/>
              <a:gdLst>
                <a:gd name="connsiteX0" fmla="*/ 24282 w 48563"/>
                <a:gd name="connsiteY0" fmla="*/ 0 h 48518"/>
                <a:gd name="connsiteX1" fmla="*/ 0 w 48563"/>
                <a:gd name="connsiteY1" fmla="*/ 24259 h 48518"/>
                <a:gd name="connsiteX2" fmla="*/ 24282 w 48563"/>
                <a:gd name="connsiteY2" fmla="*/ 48518 h 48518"/>
                <a:gd name="connsiteX3" fmla="*/ 48564 w 48563"/>
                <a:gd name="connsiteY3" fmla="*/ 24259 h 48518"/>
                <a:gd name="connsiteX4" fmla="*/ 48564 w 48563"/>
                <a:gd name="connsiteY4" fmla="*/ 24259 h 48518"/>
                <a:gd name="connsiteX5" fmla="*/ 24282 w 48563"/>
                <a:gd name="connsiteY5" fmla="*/ 0 h 48518"/>
                <a:gd name="connsiteX6" fmla="*/ 24282 w 48563"/>
                <a:gd name="connsiteY6" fmla="*/ 36389 h 48518"/>
                <a:gd name="connsiteX7" fmla="*/ 12780 w 48563"/>
                <a:gd name="connsiteY7" fmla="*/ 24897 h 48518"/>
                <a:gd name="connsiteX8" fmla="*/ 24282 w 48563"/>
                <a:gd name="connsiteY8" fmla="*/ 13406 h 48518"/>
                <a:gd name="connsiteX9" fmla="*/ 35784 w 48563"/>
                <a:gd name="connsiteY9" fmla="*/ 24897 h 48518"/>
                <a:gd name="connsiteX10" fmla="*/ 24282 w 48563"/>
                <a:gd name="connsiteY10" fmla="*/ 36389 h 48518"/>
                <a:gd name="connsiteX11" fmla="*/ 24282 w 48563"/>
                <a:gd name="connsiteY11" fmla="*/ 36389 h 48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63" h="48518">
                  <a:moveTo>
                    <a:pt x="24282" y="0"/>
                  </a:moveTo>
                  <a:cubicBezTo>
                    <a:pt x="10863" y="0"/>
                    <a:pt x="0" y="10853"/>
                    <a:pt x="0" y="24259"/>
                  </a:cubicBezTo>
                  <a:cubicBezTo>
                    <a:pt x="0" y="37665"/>
                    <a:pt x="10863" y="48518"/>
                    <a:pt x="24282" y="48518"/>
                  </a:cubicBezTo>
                  <a:cubicBezTo>
                    <a:pt x="37701" y="48518"/>
                    <a:pt x="48564" y="37665"/>
                    <a:pt x="48564" y="24259"/>
                  </a:cubicBezTo>
                  <a:cubicBezTo>
                    <a:pt x="48564" y="24259"/>
                    <a:pt x="48564" y="24259"/>
                    <a:pt x="48564" y="24259"/>
                  </a:cubicBezTo>
                  <a:cubicBezTo>
                    <a:pt x="48564" y="10853"/>
                    <a:pt x="37701" y="0"/>
                    <a:pt x="24282" y="0"/>
                  </a:cubicBezTo>
                  <a:close/>
                  <a:moveTo>
                    <a:pt x="24282" y="36389"/>
                  </a:moveTo>
                  <a:cubicBezTo>
                    <a:pt x="17892" y="36389"/>
                    <a:pt x="12780" y="31281"/>
                    <a:pt x="12780" y="24897"/>
                  </a:cubicBezTo>
                  <a:cubicBezTo>
                    <a:pt x="12780" y="18514"/>
                    <a:pt x="17892" y="13406"/>
                    <a:pt x="24282" y="13406"/>
                  </a:cubicBezTo>
                  <a:cubicBezTo>
                    <a:pt x="30672" y="13406"/>
                    <a:pt x="35784" y="18514"/>
                    <a:pt x="35784" y="24897"/>
                  </a:cubicBezTo>
                  <a:cubicBezTo>
                    <a:pt x="35784" y="30643"/>
                    <a:pt x="30672" y="35750"/>
                    <a:pt x="24282" y="36389"/>
                  </a:cubicBezTo>
                  <a:cubicBezTo>
                    <a:pt x="24282" y="36389"/>
                    <a:pt x="24282" y="36389"/>
                    <a:pt x="24282" y="36389"/>
                  </a:cubicBezTo>
                  <a:close/>
                </a:path>
              </a:pathLst>
            </a:custGeom>
            <a:grpFill/>
            <a:ln w="6390" cap="flat">
              <a:noFill/>
              <a:prstDash val="solid"/>
              <a:miter/>
            </a:ln>
          </p:spPr>
          <p:txBody>
            <a:bodyPr rtlCol="0" anchor="ctr"/>
            <a:lstStyle/>
            <a:p>
              <a:endParaRPr lang="en-US"/>
            </a:p>
          </p:txBody>
        </p:sp>
        <p:sp>
          <p:nvSpPr>
            <p:cNvPr id="677" name="Graphic 4">
              <a:extLst>
                <a:ext uri="{FF2B5EF4-FFF2-40B4-BE49-F238E27FC236}">
                  <a16:creationId xmlns:a16="http://schemas.microsoft.com/office/drawing/2014/main" id="{A2434A22-EB10-4ABE-8D61-CE25B7CE4999}"/>
                </a:ext>
              </a:extLst>
            </p:cNvPr>
            <p:cNvSpPr/>
            <p:nvPr/>
          </p:nvSpPr>
          <p:spPr>
            <a:xfrm>
              <a:off x="527808" y="3030000"/>
              <a:ext cx="44729" cy="12767"/>
            </a:xfrm>
            <a:custGeom>
              <a:avLst/>
              <a:gdLst>
                <a:gd name="connsiteX0" fmla="*/ 44730 w 44729"/>
                <a:gd name="connsiteY0" fmla="*/ 6384 h 12767"/>
                <a:gd name="connsiteX1" fmla="*/ 38340 w 44729"/>
                <a:gd name="connsiteY1" fmla="*/ 0 h 12767"/>
                <a:gd name="connsiteX2" fmla="*/ 6390 w 44729"/>
                <a:gd name="connsiteY2" fmla="*/ 0 h 12767"/>
                <a:gd name="connsiteX3" fmla="*/ 0 w 44729"/>
                <a:gd name="connsiteY3" fmla="*/ 6384 h 12767"/>
                <a:gd name="connsiteX4" fmla="*/ 6390 w 44729"/>
                <a:gd name="connsiteY4" fmla="*/ 12768 h 12767"/>
                <a:gd name="connsiteX5" fmla="*/ 38340 w 44729"/>
                <a:gd name="connsiteY5" fmla="*/ 12768 h 12767"/>
                <a:gd name="connsiteX6" fmla="*/ 44730 w 44729"/>
                <a:gd name="connsiteY6" fmla="*/ 6384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29" h="12767">
                  <a:moveTo>
                    <a:pt x="44730" y="6384"/>
                  </a:moveTo>
                  <a:cubicBezTo>
                    <a:pt x="44730" y="2554"/>
                    <a:pt x="42174" y="0"/>
                    <a:pt x="38340" y="0"/>
                  </a:cubicBezTo>
                  <a:lnTo>
                    <a:pt x="6390" y="0"/>
                  </a:lnTo>
                  <a:cubicBezTo>
                    <a:pt x="2556" y="0"/>
                    <a:pt x="0" y="2554"/>
                    <a:pt x="0" y="6384"/>
                  </a:cubicBezTo>
                  <a:cubicBezTo>
                    <a:pt x="0" y="10214"/>
                    <a:pt x="2556" y="12768"/>
                    <a:pt x="6390" y="12768"/>
                  </a:cubicBezTo>
                  <a:lnTo>
                    <a:pt x="38340" y="12768"/>
                  </a:lnTo>
                  <a:cubicBezTo>
                    <a:pt x="41535" y="12768"/>
                    <a:pt x="44730" y="10214"/>
                    <a:pt x="44730" y="6384"/>
                  </a:cubicBezTo>
                  <a:close/>
                </a:path>
              </a:pathLst>
            </a:custGeom>
            <a:grpFill/>
            <a:ln w="6390" cap="flat">
              <a:noFill/>
              <a:prstDash val="solid"/>
              <a:miter/>
            </a:ln>
          </p:spPr>
          <p:txBody>
            <a:bodyPr rtlCol="0" anchor="ctr"/>
            <a:lstStyle/>
            <a:p>
              <a:endParaRPr lang="en-US"/>
            </a:p>
          </p:txBody>
        </p:sp>
        <p:sp>
          <p:nvSpPr>
            <p:cNvPr id="678" name="Graphic 4">
              <a:extLst>
                <a:ext uri="{FF2B5EF4-FFF2-40B4-BE49-F238E27FC236}">
                  <a16:creationId xmlns:a16="http://schemas.microsoft.com/office/drawing/2014/main" id="{3A75A891-130F-F47E-0CD0-DB09FF3BF855}"/>
                </a:ext>
              </a:extLst>
            </p:cNvPr>
            <p:cNvSpPr/>
            <p:nvPr/>
          </p:nvSpPr>
          <p:spPr>
            <a:xfrm>
              <a:off x="724618" y="3030000"/>
              <a:ext cx="44729" cy="12767"/>
            </a:xfrm>
            <a:custGeom>
              <a:avLst/>
              <a:gdLst>
                <a:gd name="connsiteX0" fmla="*/ 38340 w 44729"/>
                <a:gd name="connsiteY0" fmla="*/ 0 h 12767"/>
                <a:gd name="connsiteX1" fmla="*/ 6390 w 44729"/>
                <a:gd name="connsiteY1" fmla="*/ 0 h 12767"/>
                <a:gd name="connsiteX2" fmla="*/ 0 w 44729"/>
                <a:gd name="connsiteY2" fmla="*/ 6384 h 12767"/>
                <a:gd name="connsiteX3" fmla="*/ 6390 w 44729"/>
                <a:gd name="connsiteY3" fmla="*/ 12768 h 12767"/>
                <a:gd name="connsiteX4" fmla="*/ 38340 w 44729"/>
                <a:gd name="connsiteY4" fmla="*/ 12768 h 12767"/>
                <a:gd name="connsiteX5" fmla="*/ 44730 w 44729"/>
                <a:gd name="connsiteY5" fmla="*/ 6384 h 12767"/>
                <a:gd name="connsiteX6" fmla="*/ 38340 w 44729"/>
                <a:gd name="connsiteY6" fmla="*/ 0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29" h="12767">
                  <a:moveTo>
                    <a:pt x="38340" y="0"/>
                  </a:moveTo>
                  <a:lnTo>
                    <a:pt x="6390" y="0"/>
                  </a:lnTo>
                  <a:cubicBezTo>
                    <a:pt x="2556" y="0"/>
                    <a:pt x="0" y="2554"/>
                    <a:pt x="0" y="6384"/>
                  </a:cubicBezTo>
                  <a:cubicBezTo>
                    <a:pt x="0" y="10214"/>
                    <a:pt x="2556" y="12768"/>
                    <a:pt x="6390" y="12768"/>
                  </a:cubicBezTo>
                  <a:lnTo>
                    <a:pt x="38340" y="12768"/>
                  </a:lnTo>
                  <a:cubicBezTo>
                    <a:pt x="42174" y="12768"/>
                    <a:pt x="44730" y="10214"/>
                    <a:pt x="44730" y="6384"/>
                  </a:cubicBezTo>
                  <a:cubicBezTo>
                    <a:pt x="44730" y="2554"/>
                    <a:pt x="42174" y="0"/>
                    <a:pt x="38340" y="0"/>
                  </a:cubicBezTo>
                  <a:close/>
                </a:path>
              </a:pathLst>
            </a:custGeom>
            <a:grpFill/>
            <a:ln w="6390" cap="flat">
              <a:noFill/>
              <a:prstDash val="solid"/>
              <a:miter/>
            </a:ln>
          </p:spPr>
          <p:txBody>
            <a:bodyPr rtlCol="0" anchor="ctr"/>
            <a:lstStyle/>
            <a:p>
              <a:endParaRPr lang="en-US"/>
            </a:p>
          </p:txBody>
        </p:sp>
        <p:sp>
          <p:nvSpPr>
            <p:cNvPr id="679" name="Graphic 4">
              <a:extLst>
                <a:ext uri="{FF2B5EF4-FFF2-40B4-BE49-F238E27FC236}">
                  <a16:creationId xmlns:a16="http://schemas.microsoft.com/office/drawing/2014/main" id="{76473C3D-C4A1-3A26-48AA-723CF63A0F80}"/>
                </a:ext>
              </a:extLst>
            </p:cNvPr>
            <p:cNvSpPr/>
            <p:nvPr/>
          </p:nvSpPr>
          <p:spPr>
            <a:xfrm>
              <a:off x="642188" y="2915088"/>
              <a:ext cx="12779" cy="44687"/>
            </a:xfrm>
            <a:custGeom>
              <a:avLst/>
              <a:gdLst>
                <a:gd name="connsiteX0" fmla="*/ 6390 w 12779"/>
                <a:gd name="connsiteY0" fmla="*/ 44688 h 44687"/>
                <a:gd name="connsiteX1" fmla="*/ 12780 w 12779"/>
                <a:gd name="connsiteY1" fmla="*/ 38304 h 44687"/>
                <a:gd name="connsiteX2" fmla="*/ 12780 w 12779"/>
                <a:gd name="connsiteY2" fmla="*/ 6384 h 44687"/>
                <a:gd name="connsiteX3" fmla="*/ 6390 w 12779"/>
                <a:gd name="connsiteY3" fmla="*/ 0 h 44687"/>
                <a:gd name="connsiteX4" fmla="*/ 0 w 12779"/>
                <a:gd name="connsiteY4" fmla="*/ 6384 h 44687"/>
                <a:gd name="connsiteX5" fmla="*/ 0 w 12779"/>
                <a:gd name="connsiteY5" fmla="*/ 38304 h 44687"/>
                <a:gd name="connsiteX6" fmla="*/ 6390 w 12779"/>
                <a:gd name="connsiteY6" fmla="*/ 44688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4687">
                  <a:moveTo>
                    <a:pt x="6390" y="44688"/>
                  </a:moveTo>
                  <a:cubicBezTo>
                    <a:pt x="10224" y="44688"/>
                    <a:pt x="12780" y="42134"/>
                    <a:pt x="12780" y="38304"/>
                  </a:cubicBezTo>
                  <a:lnTo>
                    <a:pt x="12780" y="6384"/>
                  </a:lnTo>
                  <a:cubicBezTo>
                    <a:pt x="12780" y="2554"/>
                    <a:pt x="10224" y="0"/>
                    <a:pt x="6390" y="0"/>
                  </a:cubicBezTo>
                  <a:cubicBezTo>
                    <a:pt x="2556" y="0"/>
                    <a:pt x="0" y="2554"/>
                    <a:pt x="0" y="6384"/>
                  </a:cubicBezTo>
                  <a:lnTo>
                    <a:pt x="0" y="38304"/>
                  </a:lnTo>
                  <a:cubicBezTo>
                    <a:pt x="0" y="42134"/>
                    <a:pt x="2556" y="44688"/>
                    <a:pt x="6390" y="44688"/>
                  </a:cubicBezTo>
                  <a:close/>
                </a:path>
              </a:pathLst>
            </a:custGeom>
            <a:grpFill/>
            <a:ln w="6390" cap="flat">
              <a:noFill/>
              <a:prstDash val="solid"/>
              <a:miter/>
            </a:ln>
          </p:spPr>
          <p:txBody>
            <a:bodyPr rtlCol="0" anchor="ctr"/>
            <a:lstStyle/>
            <a:p>
              <a:endParaRPr lang="en-US"/>
            </a:p>
          </p:txBody>
        </p:sp>
        <p:sp>
          <p:nvSpPr>
            <p:cNvPr id="680" name="Graphic 4">
              <a:extLst>
                <a:ext uri="{FF2B5EF4-FFF2-40B4-BE49-F238E27FC236}">
                  <a16:creationId xmlns:a16="http://schemas.microsoft.com/office/drawing/2014/main" id="{84CC9949-6CB8-1781-A56D-835D8046B363}"/>
                </a:ext>
              </a:extLst>
            </p:cNvPr>
            <p:cNvSpPr/>
            <p:nvPr/>
          </p:nvSpPr>
          <p:spPr>
            <a:xfrm>
              <a:off x="642827" y="3112992"/>
              <a:ext cx="12779" cy="44687"/>
            </a:xfrm>
            <a:custGeom>
              <a:avLst/>
              <a:gdLst>
                <a:gd name="connsiteX0" fmla="*/ 6390 w 12779"/>
                <a:gd name="connsiteY0" fmla="*/ 0 h 44687"/>
                <a:gd name="connsiteX1" fmla="*/ 0 w 12779"/>
                <a:gd name="connsiteY1" fmla="*/ 6384 h 44687"/>
                <a:gd name="connsiteX2" fmla="*/ 0 w 12779"/>
                <a:gd name="connsiteY2" fmla="*/ 38304 h 44687"/>
                <a:gd name="connsiteX3" fmla="*/ 6390 w 12779"/>
                <a:gd name="connsiteY3" fmla="*/ 44688 h 44687"/>
                <a:gd name="connsiteX4" fmla="*/ 12780 w 12779"/>
                <a:gd name="connsiteY4" fmla="*/ 38304 h 44687"/>
                <a:gd name="connsiteX5" fmla="*/ 12780 w 12779"/>
                <a:gd name="connsiteY5" fmla="*/ 6384 h 44687"/>
                <a:gd name="connsiteX6" fmla="*/ 6390 w 12779"/>
                <a:gd name="connsiteY6" fmla="*/ 0 h 4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44687">
                  <a:moveTo>
                    <a:pt x="6390" y="0"/>
                  </a:moveTo>
                  <a:cubicBezTo>
                    <a:pt x="2556" y="0"/>
                    <a:pt x="0" y="2554"/>
                    <a:pt x="0" y="6384"/>
                  </a:cubicBezTo>
                  <a:lnTo>
                    <a:pt x="0" y="38304"/>
                  </a:lnTo>
                  <a:cubicBezTo>
                    <a:pt x="0" y="42134"/>
                    <a:pt x="2556" y="44688"/>
                    <a:pt x="6390" y="44688"/>
                  </a:cubicBezTo>
                  <a:cubicBezTo>
                    <a:pt x="10224" y="44688"/>
                    <a:pt x="12780" y="42134"/>
                    <a:pt x="12780" y="38304"/>
                  </a:cubicBezTo>
                  <a:lnTo>
                    <a:pt x="12780" y="6384"/>
                  </a:lnTo>
                  <a:cubicBezTo>
                    <a:pt x="12780" y="2554"/>
                    <a:pt x="10224" y="0"/>
                    <a:pt x="6390" y="0"/>
                  </a:cubicBezTo>
                  <a:close/>
                </a:path>
              </a:pathLst>
            </a:custGeom>
            <a:grpFill/>
            <a:ln w="6390" cap="flat">
              <a:noFill/>
              <a:prstDash val="solid"/>
              <a:miter/>
            </a:ln>
          </p:spPr>
          <p:txBody>
            <a:bodyPr rtlCol="0" anchor="ctr"/>
            <a:lstStyle/>
            <a:p>
              <a:endParaRPr lang="en-US"/>
            </a:p>
          </p:txBody>
        </p:sp>
        <p:sp>
          <p:nvSpPr>
            <p:cNvPr id="681" name="Graphic 4">
              <a:extLst>
                <a:ext uri="{FF2B5EF4-FFF2-40B4-BE49-F238E27FC236}">
                  <a16:creationId xmlns:a16="http://schemas.microsoft.com/office/drawing/2014/main" id="{2BC53019-13E9-A870-09F4-717664505E20}"/>
                </a:ext>
              </a:extLst>
            </p:cNvPr>
            <p:cNvSpPr/>
            <p:nvPr/>
          </p:nvSpPr>
          <p:spPr>
            <a:xfrm>
              <a:off x="552729" y="3051067"/>
              <a:ext cx="81152" cy="81076"/>
            </a:xfrm>
            <a:custGeom>
              <a:avLst/>
              <a:gdLst>
                <a:gd name="connsiteX0" fmla="*/ 74762 w 81152"/>
                <a:gd name="connsiteY0" fmla="*/ 68309 h 81076"/>
                <a:gd name="connsiteX1" fmla="*/ 12780 w 81152"/>
                <a:gd name="connsiteY1" fmla="*/ 68309 h 81076"/>
                <a:gd name="connsiteX2" fmla="*/ 12780 w 81152"/>
                <a:gd name="connsiteY2" fmla="*/ 6384 h 81076"/>
                <a:gd name="connsiteX3" fmla="*/ 6390 w 81152"/>
                <a:gd name="connsiteY3" fmla="*/ 0 h 81076"/>
                <a:gd name="connsiteX4" fmla="*/ 0 w 81152"/>
                <a:gd name="connsiteY4" fmla="*/ 6384 h 81076"/>
                <a:gd name="connsiteX5" fmla="*/ 0 w 81152"/>
                <a:gd name="connsiteY5" fmla="*/ 74693 h 81076"/>
                <a:gd name="connsiteX6" fmla="*/ 6390 w 81152"/>
                <a:gd name="connsiteY6" fmla="*/ 81077 h 81076"/>
                <a:gd name="connsiteX7" fmla="*/ 74762 w 81152"/>
                <a:gd name="connsiteY7" fmla="*/ 81077 h 81076"/>
                <a:gd name="connsiteX8" fmla="*/ 81152 w 81152"/>
                <a:gd name="connsiteY8" fmla="*/ 74693 h 81076"/>
                <a:gd name="connsiteX9" fmla="*/ 74762 w 81152"/>
                <a:gd name="connsiteY9" fmla="*/ 68309 h 8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152" h="81076">
                  <a:moveTo>
                    <a:pt x="74762" y="68309"/>
                  </a:moveTo>
                  <a:lnTo>
                    <a:pt x="12780" y="68309"/>
                  </a:lnTo>
                  <a:lnTo>
                    <a:pt x="12780" y="6384"/>
                  </a:lnTo>
                  <a:cubicBezTo>
                    <a:pt x="12780" y="2554"/>
                    <a:pt x="10224" y="0"/>
                    <a:pt x="6390" y="0"/>
                  </a:cubicBezTo>
                  <a:cubicBezTo>
                    <a:pt x="2556" y="0"/>
                    <a:pt x="0" y="2554"/>
                    <a:pt x="0" y="6384"/>
                  </a:cubicBezTo>
                  <a:lnTo>
                    <a:pt x="0" y="74693"/>
                  </a:lnTo>
                  <a:cubicBezTo>
                    <a:pt x="0" y="78523"/>
                    <a:pt x="2556" y="81077"/>
                    <a:pt x="6390" y="81077"/>
                  </a:cubicBezTo>
                  <a:lnTo>
                    <a:pt x="74762" y="81077"/>
                  </a:lnTo>
                  <a:cubicBezTo>
                    <a:pt x="78596" y="81077"/>
                    <a:pt x="81152" y="78523"/>
                    <a:pt x="81152" y="74693"/>
                  </a:cubicBezTo>
                  <a:cubicBezTo>
                    <a:pt x="81152" y="70862"/>
                    <a:pt x="77957" y="68309"/>
                    <a:pt x="74762" y="68309"/>
                  </a:cubicBezTo>
                  <a:close/>
                </a:path>
              </a:pathLst>
            </a:custGeom>
            <a:grpFill/>
            <a:ln w="6390" cap="flat">
              <a:noFill/>
              <a:prstDash val="solid"/>
              <a:miter/>
            </a:ln>
          </p:spPr>
          <p:txBody>
            <a:bodyPr rtlCol="0" anchor="ctr"/>
            <a:lstStyle/>
            <a:p>
              <a:endParaRPr lang="en-US"/>
            </a:p>
          </p:txBody>
        </p:sp>
        <p:sp>
          <p:nvSpPr>
            <p:cNvPr id="682" name="Graphic 4">
              <a:extLst>
                <a:ext uri="{FF2B5EF4-FFF2-40B4-BE49-F238E27FC236}">
                  <a16:creationId xmlns:a16="http://schemas.microsoft.com/office/drawing/2014/main" id="{9A1A23AA-3AEF-DACC-9AF3-ACE316FB1BC5}"/>
                </a:ext>
              </a:extLst>
            </p:cNvPr>
            <p:cNvSpPr/>
            <p:nvPr/>
          </p:nvSpPr>
          <p:spPr>
            <a:xfrm>
              <a:off x="663275" y="3051067"/>
              <a:ext cx="81152" cy="81076"/>
            </a:xfrm>
            <a:custGeom>
              <a:avLst/>
              <a:gdLst>
                <a:gd name="connsiteX0" fmla="*/ 74762 w 81152"/>
                <a:gd name="connsiteY0" fmla="*/ 0 h 81076"/>
                <a:gd name="connsiteX1" fmla="*/ 68372 w 81152"/>
                <a:gd name="connsiteY1" fmla="*/ 6384 h 81076"/>
                <a:gd name="connsiteX2" fmla="*/ 68372 w 81152"/>
                <a:gd name="connsiteY2" fmla="*/ 68309 h 81076"/>
                <a:gd name="connsiteX3" fmla="*/ 6390 w 81152"/>
                <a:gd name="connsiteY3" fmla="*/ 68309 h 81076"/>
                <a:gd name="connsiteX4" fmla="*/ 0 w 81152"/>
                <a:gd name="connsiteY4" fmla="*/ 74693 h 81076"/>
                <a:gd name="connsiteX5" fmla="*/ 6390 w 81152"/>
                <a:gd name="connsiteY5" fmla="*/ 81077 h 81076"/>
                <a:gd name="connsiteX6" fmla="*/ 74762 w 81152"/>
                <a:gd name="connsiteY6" fmla="*/ 81077 h 81076"/>
                <a:gd name="connsiteX7" fmla="*/ 81152 w 81152"/>
                <a:gd name="connsiteY7" fmla="*/ 74693 h 81076"/>
                <a:gd name="connsiteX8" fmla="*/ 81152 w 81152"/>
                <a:gd name="connsiteY8" fmla="*/ 6384 h 81076"/>
                <a:gd name="connsiteX9" fmla="*/ 74762 w 81152"/>
                <a:gd name="connsiteY9" fmla="*/ 0 h 8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152" h="81076">
                  <a:moveTo>
                    <a:pt x="74762" y="0"/>
                  </a:moveTo>
                  <a:cubicBezTo>
                    <a:pt x="70928" y="0"/>
                    <a:pt x="68372" y="2554"/>
                    <a:pt x="68372" y="6384"/>
                  </a:cubicBezTo>
                  <a:lnTo>
                    <a:pt x="68372" y="68309"/>
                  </a:lnTo>
                  <a:lnTo>
                    <a:pt x="6390" y="68309"/>
                  </a:lnTo>
                  <a:cubicBezTo>
                    <a:pt x="2556" y="68309"/>
                    <a:pt x="0" y="70862"/>
                    <a:pt x="0" y="74693"/>
                  </a:cubicBezTo>
                  <a:cubicBezTo>
                    <a:pt x="0" y="78523"/>
                    <a:pt x="2556" y="81077"/>
                    <a:pt x="6390" y="81077"/>
                  </a:cubicBezTo>
                  <a:lnTo>
                    <a:pt x="74762" y="81077"/>
                  </a:lnTo>
                  <a:cubicBezTo>
                    <a:pt x="78596" y="81077"/>
                    <a:pt x="81152" y="78523"/>
                    <a:pt x="81152" y="74693"/>
                  </a:cubicBezTo>
                  <a:lnTo>
                    <a:pt x="81152" y="6384"/>
                  </a:lnTo>
                  <a:cubicBezTo>
                    <a:pt x="81152" y="2554"/>
                    <a:pt x="78596" y="0"/>
                    <a:pt x="74762" y="0"/>
                  </a:cubicBezTo>
                  <a:close/>
                </a:path>
              </a:pathLst>
            </a:custGeom>
            <a:grpFill/>
            <a:ln w="6390" cap="flat">
              <a:noFill/>
              <a:prstDash val="solid"/>
              <a:miter/>
            </a:ln>
          </p:spPr>
          <p:txBody>
            <a:bodyPr rtlCol="0" anchor="ctr"/>
            <a:lstStyle/>
            <a:p>
              <a:endParaRPr lang="en-US"/>
            </a:p>
          </p:txBody>
        </p:sp>
        <p:sp>
          <p:nvSpPr>
            <p:cNvPr id="683" name="Graphic 4">
              <a:extLst>
                <a:ext uri="{FF2B5EF4-FFF2-40B4-BE49-F238E27FC236}">
                  <a16:creationId xmlns:a16="http://schemas.microsoft.com/office/drawing/2014/main" id="{C7F83CA7-3433-9626-AB9B-E322D02989E2}"/>
                </a:ext>
              </a:extLst>
            </p:cNvPr>
            <p:cNvSpPr/>
            <p:nvPr/>
          </p:nvSpPr>
          <p:spPr>
            <a:xfrm>
              <a:off x="663275" y="2939986"/>
              <a:ext cx="81152" cy="81076"/>
            </a:xfrm>
            <a:custGeom>
              <a:avLst/>
              <a:gdLst>
                <a:gd name="connsiteX0" fmla="*/ 6390 w 81152"/>
                <a:gd name="connsiteY0" fmla="*/ 12768 h 81076"/>
                <a:gd name="connsiteX1" fmla="*/ 68372 w 81152"/>
                <a:gd name="connsiteY1" fmla="*/ 12768 h 81076"/>
                <a:gd name="connsiteX2" fmla="*/ 68372 w 81152"/>
                <a:gd name="connsiteY2" fmla="*/ 74693 h 81076"/>
                <a:gd name="connsiteX3" fmla="*/ 74762 w 81152"/>
                <a:gd name="connsiteY3" fmla="*/ 81077 h 81076"/>
                <a:gd name="connsiteX4" fmla="*/ 81152 w 81152"/>
                <a:gd name="connsiteY4" fmla="*/ 74693 h 81076"/>
                <a:gd name="connsiteX5" fmla="*/ 81152 w 81152"/>
                <a:gd name="connsiteY5" fmla="*/ 6384 h 81076"/>
                <a:gd name="connsiteX6" fmla="*/ 74762 w 81152"/>
                <a:gd name="connsiteY6" fmla="*/ 0 h 81076"/>
                <a:gd name="connsiteX7" fmla="*/ 6390 w 81152"/>
                <a:gd name="connsiteY7" fmla="*/ 0 h 81076"/>
                <a:gd name="connsiteX8" fmla="*/ 0 w 81152"/>
                <a:gd name="connsiteY8" fmla="*/ 6384 h 81076"/>
                <a:gd name="connsiteX9" fmla="*/ 6390 w 81152"/>
                <a:gd name="connsiteY9" fmla="*/ 12768 h 8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152" h="81076">
                  <a:moveTo>
                    <a:pt x="6390" y="12768"/>
                  </a:moveTo>
                  <a:lnTo>
                    <a:pt x="68372" y="12768"/>
                  </a:lnTo>
                  <a:lnTo>
                    <a:pt x="68372" y="74693"/>
                  </a:lnTo>
                  <a:cubicBezTo>
                    <a:pt x="68372" y="78523"/>
                    <a:pt x="70928" y="81077"/>
                    <a:pt x="74762" y="81077"/>
                  </a:cubicBezTo>
                  <a:cubicBezTo>
                    <a:pt x="78596" y="81077"/>
                    <a:pt x="81152" y="78523"/>
                    <a:pt x="81152" y="74693"/>
                  </a:cubicBezTo>
                  <a:lnTo>
                    <a:pt x="81152" y="6384"/>
                  </a:lnTo>
                  <a:cubicBezTo>
                    <a:pt x="81152" y="2554"/>
                    <a:pt x="78596" y="0"/>
                    <a:pt x="74762" y="0"/>
                  </a:cubicBezTo>
                  <a:lnTo>
                    <a:pt x="6390" y="0"/>
                  </a:lnTo>
                  <a:cubicBezTo>
                    <a:pt x="2556" y="0"/>
                    <a:pt x="0" y="2554"/>
                    <a:pt x="0" y="6384"/>
                  </a:cubicBezTo>
                  <a:cubicBezTo>
                    <a:pt x="0" y="10214"/>
                    <a:pt x="2556" y="12768"/>
                    <a:pt x="6390" y="12768"/>
                  </a:cubicBezTo>
                  <a:close/>
                </a:path>
              </a:pathLst>
            </a:custGeom>
            <a:grpFill/>
            <a:ln w="6390" cap="flat">
              <a:noFill/>
              <a:prstDash val="solid"/>
              <a:miter/>
            </a:ln>
          </p:spPr>
          <p:txBody>
            <a:bodyPr rtlCol="0" anchor="ctr"/>
            <a:lstStyle/>
            <a:p>
              <a:endParaRPr lang="en-US"/>
            </a:p>
          </p:txBody>
        </p:sp>
        <p:sp>
          <p:nvSpPr>
            <p:cNvPr id="684" name="Graphic 4">
              <a:extLst>
                <a:ext uri="{FF2B5EF4-FFF2-40B4-BE49-F238E27FC236}">
                  <a16:creationId xmlns:a16="http://schemas.microsoft.com/office/drawing/2014/main" id="{5134CD47-8214-E028-98E0-71965AB25273}"/>
                </a:ext>
              </a:extLst>
            </p:cNvPr>
            <p:cNvSpPr/>
            <p:nvPr/>
          </p:nvSpPr>
          <p:spPr>
            <a:xfrm>
              <a:off x="552090" y="2939986"/>
              <a:ext cx="81152" cy="81076"/>
            </a:xfrm>
            <a:custGeom>
              <a:avLst/>
              <a:gdLst>
                <a:gd name="connsiteX0" fmla="*/ 6390 w 81152"/>
                <a:gd name="connsiteY0" fmla="*/ 81077 h 81076"/>
                <a:gd name="connsiteX1" fmla="*/ 12780 w 81152"/>
                <a:gd name="connsiteY1" fmla="*/ 74693 h 81076"/>
                <a:gd name="connsiteX2" fmla="*/ 12780 w 81152"/>
                <a:gd name="connsiteY2" fmla="*/ 12768 h 81076"/>
                <a:gd name="connsiteX3" fmla="*/ 74762 w 81152"/>
                <a:gd name="connsiteY3" fmla="*/ 12768 h 81076"/>
                <a:gd name="connsiteX4" fmla="*/ 81152 w 81152"/>
                <a:gd name="connsiteY4" fmla="*/ 6384 h 81076"/>
                <a:gd name="connsiteX5" fmla="*/ 74762 w 81152"/>
                <a:gd name="connsiteY5" fmla="*/ 0 h 81076"/>
                <a:gd name="connsiteX6" fmla="*/ 6390 w 81152"/>
                <a:gd name="connsiteY6" fmla="*/ 0 h 81076"/>
                <a:gd name="connsiteX7" fmla="*/ 0 w 81152"/>
                <a:gd name="connsiteY7" fmla="*/ 6384 h 81076"/>
                <a:gd name="connsiteX8" fmla="*/ 0 w 81152"/>
                <a:gd name="connsiteY8" fmla="*/ 74693 h 81076"/>
                <a:gd name="connsiteX9" fmla="*/ 6390 w 81152"/>
                <a:gd name="connsiteY9" fmla="*/ 81077 h 8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152" h="81076">
                  <a:moveTo>
                    <a:pt x="6390" y="81077"/>
                  </a:moveTo>
                  <a:cubicBezTo>
                    <a:pt x="10224" y="81077"/>
                    <a:pt x="12780" y="78523"/>
                    <a:pt x="12780" y="74693"/>
                  </a:cubicBezTo>
                  <a:lnTo>
                    <a:pt x="12780" y="12768"/>
                  </a:lnTo>
                  <a:lnTo>
                    <a:pt x="74762" y="12768"/>
                  </a:lnTo>
                  <a:cubicBezTo>
                    <a:pt x="78596" y="12768"/>
                    <a:pt x="81152" y="10214"/>
                    <a:pt x="81152" y="6384"/>
                  </a:cubicBezTo>
                  <a:cubicBezTo>
                    <a:pt x="81152" y="2554"/>
                    <a:pt x="78596" y="0"/>
                    <a:pt x="74762" y="0"/>
                  </a:cubicBezTo>
                  <a:lnTo>
                    <a:pt x="6390" y="0"/>
                  </a:lnTo>
                  <a:cubicBezTo>
                    <a:pt x="2556" y="0"/>
                    <a:pt x="0" y="2554"/>
                    <a:pt x="0" y="6384"/>
                  </a:cubicBezTo>
                  <a:lnTo>
                    <a:pt x="0" y="74693"/>
                  </a:lnTo>
                  <a:cubicBezTo>
                    <a:pt x="0" y="78523"/>
                    <a:pt x="3195" y="81077"/>
                    <a:pt x="6390" y="81077"/>
                  </a:cubicBezTo>
                  <a:close/>
                </a:path>
              </a:pathLst>
            </a:custGeom>
            <a:grpFill/>
            <a:ln w="6390" cap="flat">
              <a:noFill/>
              <a:prstDash val="solid"/>
              <a:miter/>
            </a:ln>
          </p:spPr>
          <p:txBody>
            <a:bodyPr rtlCol="0" anchor="ctr"/>
            <a:lstStyle/>
            <a:p>
              <a:endParaRPr lang="en-US"/>
            </a:p>
          </p:txBody>
        </p:sp>
      </p:grpSp>
      <p:grpSp>
        <p:nvGrpSpPr>
          <p:cNvPr id="21" name="Graphic 4">
            <a:extLst>
              <a:ext uri="{FF2B5EF4-FFF2-40B4-BE49-F238E27FC236}">
                <a16:creationId xmlns:a16="http://schemas.microsoft.com/office/drawing/2014/main" id="{969AA8F7-D438-0E0C-74EC-D8DCE25F0C98}"/>
              </a:ext>
            </a:extLst>
          </p:cNvPr>
          <p:cNvGrpSpPr/>
          <p:nvPr/>
        </p:nvGrpSpPr>
        <p:grpSpPr>
          <a:xfrm>
            <a:off x="3943135" y="4459896"/>
            <a:ext cx="522100" cy="396799"/>
            <a:chOff x="541866" y="1016492"/>
            <a:chExt cx="214062" cy="165345"/>
          </a:xfrm>
          <a:solidFill>
            <a:srgbClr val="00A3E0"/>
          </a:solidFill>
        </p:grpSpPr>
        <p:sp>
          <p:nvSpPr>
            <p:cNvPr id="23" name="Graphic 4">
              <a:extLst>
                <a:ext uri="{FF2B5EF4-FFF2-40B4-BE49-F238E27FC236}">
                  <a16:creationId xmlns:a16="http://schemas.microsoft.com/office/drawing/2014/main" id="{1AFE7EAF-3409-3B9E-5AFF-67A1F2653810}"/>
                </a:ext>
              </a:extLst>
            </p:cNvPr>
            <p:cNvSpPr/>
            <p:nvPr/>
          </p:nvSpPr>
          <p:spPr>
            <a:xfrm>
              <a:off x="541866" y="1016492"/>
              <a:ext cx="214062" cy="165345"/>
            </a:xfrm>
            <a:custGeom>
              <a:avLst/>
              <a:gdLst>
                <a:gd name="connsiteX0" fmla="*/ 206395 w 214062"/>
                <a:gd name="connsiteY0" fmla="*/ 0 h 165345"/>
                <a:gd name="connsiteX1" fmla="*/ 6390 w 214062"/>
                <a:gd name="connsiteY1" fmla="*/ 0 h 165345"/>
                <a:gd name="connsiteX2" fmla="*/ 0 w 214062"/>
                <a:gd name="connsiteY2" fmla="*/ 6384 h 165345"/>
                <a:gd name="connsiteX3" fmla="*/ 0 w 214062"/>
                <a:gd name="connsiteY3" fmla="*/ 149385 h 165345"/>
                <a:gd name="connsiteX4" fmla="*/ 6390 w 214062"/>
                <a:gd name="connsiteY4" fmla="*/ 155769 h 165345"/>
                <a:gd name="connsiteX5" fmla="*/ 29394 w 214062"/>
                <a:gd name="connsiteY5" fmla="*/ 155769 h 165345"/>
                <a:gd name="connsiteX6" fmla="*/ 28755 w 214062"/>
                <a:gd name="connsiteY6" fmla="*/ 158961 h 165345"/>
                <a:gd name="connsiteX7" fmla="*/ 35145 w 214062"/>
                <a:gd name="connsiteY7" fmla="*/ 165345 h 165345"/>
                <a:gd name="connsiteX8" fmla="*/ 63899 w 214062"/>
                <a:gd name="connsiteY8" fmla="*/ 165345 h 165345"/>
                <a:gd name="connsiteX9" fmla="*/ 70289 w 214062"/>
                <a:gd name="connsiteY9" fmla="*/ 158961 h 165345"/>
                <a:gd name="connsiteX10" fmla="*/ 69650 w 214062"/>
                <a:gd name="connsiteY10" fmla="*/ 155769 h 165345"/>
                <a:gd name="connsiteX11" fmla="*/ 144413 w 214062"/>
                <a:gd name="connsiteY11" fmla="*/ 155769 h 165345"/>
                <a:gd name="connsiteX12" fmla="*/ 143774 w 214062"/>
                <a:gd name="connsiteY12" fmla="*/ 158961 h 165345"/>
                <a:gd name="connsiteX13" fmla="*/ 150164 w 214062"/>
                <a:gd name="connsiteY13" fmla="*/ 165345 h 165345"/>
                <a:gd name="connsiteX14" fmla="*/ 178918 w 214062"/>
                <a:gd name="connsiteY14" fmla="*/ 165345 h 165345"/>
                <a:gd name="connsiteX15" fmla="*/ 185308 w 214062"/>
                <a:gd name="connsiteY15" fmla="*/ 158961 h 165345"/>
                <a:gd name="connsiteX16" fmla="*/ 184669 w 214062"/>
                <a:gd name="connsiteY16" fmla="*/ 155769 h 165345"/>
                <a:gd name="connsiteX17" fmla="*/ 207673 w 214062"/>
                <a:gd name="connsiteY17" fmla="*/ 155769 h 165345"/>
                <a:gd name="connsiteX18" fmla="*/ 214063 w 214062"/>
                <a:gd name="connsiteY18" fmla="*/ 149385 h 165345"/>
                <a:gd name="connsiteX19" fmla="*/ 214063 w 214062"/>
                <a:gd name="connsiteY19" fmla="*/ 6384 h 165345"/>
                <a:gd name="connsiteX20" fmla="*/ 206395 w 214062"/>
                <a:gd name="connsiteY20" fmla="*/ 0 h 165345"/>
                <a:gd name="connsiteX21" fmla="*/ 12780 w 214062"/>
                <a:gd name="connsiteY21" fmla="*/ 12768 h 165345"/>
                <a:gd name="connsiteX22" fmla="*/ 35784 w 214062"/>
                <a:gd name="connsiteY22" fmla="*/ 12768 h 165345"/>
                <a:gd name="connsiteX23" fmla="*/ 35784 w 214062"/>
                <a:gd name="connsiteY23" fmla="*/ 28728 h 165345"/>
                <a:gd name="connsiteX24" fmla="*/ 35145 w 214062"/>
                <a:gd name="connsiteY24" fmla="*/ 28728 h 165345"/>
                <a:gd name="connsiteX25" fmla="*/ 28755 w 214062"/>
                <a:gd name="connsiteY25" fmla="*/ 35112 h 165345"/>
                <a:gd name="connsiteX26" fmla="*/ 35145 w 214062"/>
                <a:gd name="connsiteY26" fmla="*/ 41496 h 165345"/>
                <a:gd name="connsiteX27" fmla="*/ 35784 w 214062"/>
                <a:gd name="connsiteY27" fmla="*/ 41496 h 165345"/>
                <a:gd name="connsiteX28" fmla="*/ 35784 w 214062"/>
                <a:gd name="connsiteY28" fmla="*/ 114273 h 165345"/>
                <a:gd name="connsiteX29" fmla="*/ 35145 w 214062"/>
                <a:gd name="connsiteY29" fmla="*/ 114273 h 165345"/>
                <a:gd name="connsiteX30" fmla="*/ 28755 w 214062"/>
                <a:gd name="connsiteY30" fmla="*/ 120657 h 165345"/>
                <a:gd name="connsiteX31" fmla="*/ 35145 w 214062"/>
                <a:gd name="connsiteY31" fmla="*/ 127041 h 165345"/>
                <a:gd name="connsiteX32" fmla="*/ 35784 w 214062"/>
                <a:gd name="connsiteY32" fmla="*/ 127041 h 165345"/>
                <a:gd name="connsiteX33" fmla="*/ 35784 w 214062"/>
                <a:gd name="connsiteY33" fmla="*/ 143001 h 165345"/>
                <a:gd name="connsiteX34" fmla="*/ 12780 w 214062"/>
                <a:gd name="connsiteY34" fmla="*/ 143001 h 165345"/>
                <a:gd name="connsiteX35" fmla="*/ 12780 w 214062"/>
                <a:gd name="connsiteY35" fmla="*/ 12768 h 165345"/>
                <a:gd name="connsiteX36" fmla="*/ 200005 w 214062"/>
                <a:gd name="connsiteY36" fmla="*/ 143001 h 165345"/>
                <a:gd name="connsiteX37" fmla="*/ 48564 w 214062"/>
                <a:gd name="connsiteY37" fmla="*/ 143001 h 165345"/>
                <a:gd name="connsiteX38" fmla="*/ 48564 w 214062"/>
                <a:gd name="connsiteY38" fmla="*/ 127041 h 165345"/>
                <a:gd name="connsiteX39" fmla="*/ 49202 w 214062"/>
                <a:gd name="connsiteY39" fmla="*/ 127041 h 165345"/>
                <a:gd name="connsiteX40" fmla="*/ 55592 w 214062"/>
                <a:gd name="connsiteY40" fmla="*/ 120657 h 165345"/>
                <a:gd name="connsiteX41" fmla="*/ 49202 w 214062"/>
                <a:gd name="connsiteY41" fmla="*/ 114273 h 165345"/>
                <a:gd name="connsiteX42" fmla="*/ 48564 w 214062"/>
                <a:gd name="connsiteY42" fmla="*/ 114273 h 165345"/>
                <a:gd name="connsiteX43" fmla="*/ 48564 w 214062"/>
                <a:gd name="connsiteY43" fmla="*/ 41496 h 165345"/>
                <a:gd name="connsiteX44" fmla="*/ 49202 w 214062"/>
                <a:gd name="connsiteY44" fmla="*/ 41496 h 165345"/>
                <a:gd name="connsiteX45" fmla="*/ 55592 w 214062"/>
                <a:gd name="connsiteY45" fmla="*/ 35112 h 165345"/>
                <a:gd name="connsiteX46" fmla="*/ 49202 w 214062"/>
                <a:gd name="connsiteY46" fmla="*/ 28728 h 165345"/>
                <a:gd name="connsiteX47" fmla="*/ 48564 w 214062"/>
                <a:gd name="connsiteY47" fmla="*/ 28728 h 165345"/>
                <a:gd name="connsiteX48" fmla="*/ 48564 w 214062"/>
                <a:gd name="connsiteY48" fmla="*/ 12768 h 165345"/>
                <a:gd name="connsiteX49" fmla="*/ 200005 w 214062"/>
                <a:gd name="connsiteY49" fmla="*/ 12768 h 165345"/>
                <a:gd name="connsiteX50" fmla="*/ 200005 w 214062"/>
                <a:gd name="connsiteY50" fmla="*/ 143001 h 16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14062" h="165345">
                  <a:moveTo>
                    <a:pt x="206395" y="0"/>
                  </a:moveTo>
                  <a:lnTo>
                    <a:pt x="6390" y="0"/>
                  </a:lnTo>
                  <a:cubicBezTo>
                    <a:pt x="2556" y="0"/>
                    <a:pt x="0" y="2554"/>
                    <a:pt x="0" y="6384"/>
                  </a:cubicBezTo>
                  <a:lnTo>
                    <a:pt x="0" y="149385"/>
                  </a:lnTo>
                  <a:cubicBezTo>
                    <a:pt x="0" y="153216"/>
                    <a:pt x="2556" y="155769"/>
                    <a:pt x="6390" y="155769"/>
                  </a:cubicBezTo>
                  <a:lnTo>
                    <a:pt x="29394" y="155769"/>
                  </a:lnTo>
                  <a:cubicBezTo>
                    <a:pt x="28755" y="156408"/>
                    <a:pt x="28755" y="157684"/>
                    <a:pt x="28755" y="158961"/>
                  </a:cubicBezTo>
                  <a:cubicBezTo>
                    <a:pt x="28755" y="162792"/>
                    <a:pt x="31311" y="165345"/>
                    <a:pt x="35145" y="165345"/>
                  </a:cubicBezTo>
                  <a:lnTo>
                    <a:pt x="63899" y="165345"/>
                  </a:lnTo>
                  <a:cubicBezTo>
                    <a:pt x="67733" y="165345"/>
                    <a:pt x="70289" y="162792"/>
                    <a:pt x="70289" y="158961"/>
                  </a:cubicBezTo>
                  <a:cubicBezTo>
                    <a:pt x="70289" y="157684"/>
                    <a:pt x="69650" y="157046"/>
                    <a:pt x="69650" y="155769"/>
                  </a:cubicBezTo>
                  <a:lnTo>
                    <a:pt x="144413" y="155769"/>
                  </a:lnTo>
                  <a:cubicBezTo>
                    <a:pt x="143774" y="156408"/>
                    <a:pt x="143774" y="157684"/>
                    <a:pt x="143774" y="158961"/>
                  </a:cubicBezTo>
                  <a:cubicBezTo>
                    <a:pt x="143774" y="162792"/>
                    <a:pt x="146330" y="165345"/>
                    <a:pt x="150164" y="165345"/>
                  </a:cubicBezTo>
                  <a:lnTo>
                    <a:pt x="178918" y="165345"/>
                  </a:lnTo>
                  <a:cubicBezTo>
                    <a:pt x="182752" y="165345"/>
                    <a:pt x="185308" y="162792"/>
                    <a:pt x="185308" y="158961"/>
                  </a:cubicBezTo>
                  <a:cubicBezTo>
                    <a:pt x="185308" y="157684"/>
                    <a:pt x="184669" y="157046"/>
                    <a:pt x="184669" y="155769"/>
                  </a:cubicBezTo>
                  <a:lnTo>
                    <a:pt x="207673" y="155769"/>
                  </a:lnTo>
                  <a:cubicBezTo>
                    <a:pt x="211507" y="155769"/>
                    <a:pt x="214063" y="153216"/>
                    <a:pt x="214063" y="149385"/>
                  </a:cubicBezTo>
                  <a:lnTo>
                    <a:pt x="214063" y="6384"/>
                  </a:lnTo>
                  <a:cubicBezTo>
                    <a:pt x="212785" y="2554"/>
                    <a:pt x="210229" y="0"/>
                    <a:pt x="206395" y="0"/>
                  </a:cubicBezTo>
                  <a:close/>
                  <a:moveTo>
                    <a:pt x="12780" y="12768"/>
                  </a:moveTo>
                  <a:lnTo>
                    <a:pt x="35784" y="12768"/>
                  </a:lnTo>
                  <a:lnTo>
                    <a:pt x="35784" y="28728"/>
                  </a:lnTo>
                  <a:lnTo>
                    <a:pt x="35145" y="28728"/>
                  </a:lnTo>
                  <a:cubicBezTo>
                    <a:pt x="31311" y="28728"/>
                    <a:pt x="28755" y="31281"/>
                    <a:pt x="28755" y="35112"/>
                  </a:cubicBezTo>
                  <a:cubicBezTo>
                    <a:pt x="28755" y="38942"/>
                    <a:pt x="31311" y="41496"/>
                    <a:pt x="35145" y="41496"/>
                  </a:cubicBezTo>
                  <a:lnTo>
                    <a:pt x="35784" y="41496"/>
                  </a:lnTo>
                  <a:lnTo>
                    <a:pt x="35784" y="114273"/>
                  </a:lnTo>
                  <a:lnTo>
                    <a:pt x="35145" y="114273"/>
                  </a:lnTo>
                  <a:cubicBezTo>
                    <a:pt x="31311" y="114273"/>
                    <a:pt x="28755" y="116827"/>
                    <a:pt x="28755" y="120657"/>
                  </a:cubicBezTo>
                  <a:cubicBezTo>
                    <a:pt x="28755" y="124488"/>
                    <a:pt x="31311" y="127041"/>
                    <a:pt x="35145" y="127041"/>
                  </a:cubicBezTo>
                  <a:lnTo>
                    <a:pt x="35784" y="127041"/>
                  </a:lnTo>
                  <a:lnTo>
                    <a:pt x="35784" y="143001"/>
                  </a:lnTo>
                  <a:lnTo>
                    <a:pt x="12780" y="143001"/>
                  </a:lnTo>
                  <a:lnTo>
                    <a:pt x="12780" y="12768"/>
                  </a:lnTo>
                  <a:close/>
                  <a:moveTo>
                    <a:pt x="200005" y="143001"/>
                  </a:moveTo>
                  <a:lnTo>
                    <a:pt x="48564" y="143001"/>
                  </a:lnTo>
                  <a:lnTo>
                    <a:pt x="48564" y="127041"/>
                  </a:lnTo>
                  <a:lnTo>
                    <a:pt x="49202" y="127041"/>
                  </a:lnTo>
                  <a:cubicBezTo>
                    <a:pt x="53036" y="127041"/>
                    <a:pt x="55592" y="124488"/>
                    <a:pt x="55592" y="120657"/>
                  </a:cubicBezTo>
                  <a:cubicBezTo>
                    <a:pt x="55592" y="116827"/>
                    <a:pt x="53036" y="114273"/>
                    <a:pt x="49202" y="114273"/>
                  </a:cubicBezTo>
                  <a:lnTo>
                    <a:pt x="48564" y="114273"/>
                  </a:lnTo>
                  <a:lnTo>
                    <a:pt x="48564" y="41496"/>
                  </a:lnTo>
                  <a:lnTo>
                    <a:pt x="49202" y="41496"/>
                  </a:lnTo>
                  <a:cubicBezTo>
                    <a:pt x="53036" y="41496"/>
                    <a:pt x="55592" y="38942"/>
                    <a:pt x="55592" y="35112"/>
                  </a:cubicBezTo>
                  <a:cubicBezTo>
                    <a:pt x="55592" y="31281"/>
                    <a:pt x="53036" y="28728"/>
                    <a:pt x="49202" y="28728"/>
                  </a:cubicBezTo>
                  <a:lnTo>
                    <a:pt x="48564" y="28728"/>
                  </a:lnTo>
                  <a:lnTo>
                    <a:pt x="48564" y="12768"/>
                  </a:lnTo>
                  <a:lnTo>
                    <a:pt x="200005" y="12768"/>
                  </a:lnTo>
                  <a:lnTo>
                    <a:pt x="200005" y="143001"/>
                  </a:lnTo>
                  <a:close/>
                </a:path>
              </a:pathLst>
            </a:custGeom>
            <a:grpFill/>
            <a:ln w="6390" cap="flat">
              <a:noFill/>
              <a:prstDash val="solid"/>
              <a:miter/>
            </a:ln>
          </p:spPr>
          <p:txBody>
            <a:bodyPr rtlCol="0" anchor="ctr"/>
            <a:lstStyle/>
            <a:p>
              <a:endParaRPr lang="en-US"/>
            </a:p>
          </p:txBody>
        </p:sp>
        <p:sp>
          <p:nvSpPr>
            <p:cNvPr id="24" name="Graphic 4">
              <a:extLst>
                <a:ext uri="{FF2B5EF4-FFF2-40B4-BE49-F238E27FC236}">
                  <a16:creationId xmlns:a16="http://schemas.microsoft.com/office/drawing/2014/main" id="{B1B165BF-EC06-C1E7-D84A-7CB382937738}"/>
                </a:ext>
              </a:extLst>
            </p:cNvPr>
            <p:cNvSpPr/>
            <p:nvPr/>
          </p:nvSpPr>
          <p:spPr>
            <a:xfrm>
              <a:off x="656246" y="1059265"/>
              <a:ext cx="70289" cy="70223"/>
            </a:xfrm>
            <a:custGeom>
              <a:avLst/>
              <a:gdLst>
                <a:gd name="connsiteX0" fmla="*/ 35145 w 70289"/>
                <a:gd name="connsiteY0" fmla="*/ 70224 h 70223"/>
                <a:gd name="connsiteX1" fmla="*/ 70289 w 70289"/>
                <a:gd name="connsiteY1" fmla="*/ 35112 h 70223"/>
                <a:gd name="connsiteX2" fmla="*/ 35145 w 70289"/>
                <a:gd name="connsiteY2" fmla="*/ 0 h 70223"/>
                <a:gd name="connsiteX3" fmla="*/ 0 w 70289"/>
                <a:gd name="connsiteY3" fmla="*/ 35112 h 70223"/>
                <a:gd name="connsiteX4" fmla="*/ 35145 w 70289"/>
                <a:gd name="connsiteY4" fmla="*/ 70224 h 70223"/>
                <a:gd name="connsiteX5" fmla="*/ 35145 w 70289"/>
                <a:gd name="connsiteY5" fmla="*/ 12768 h 70223"/>
                <a:gd name="connsiteX6" fmla="*/ 57509 w 70289"/>
                <a:gd name="connsiteY6" fmla="*/ 35112 h 70223"/>
                <a:gd name="connsiteX7" fmla="*/ 35145 w 70289"/>
                <a:gd name="connsiteY7" fmla="*/ 57456 h 70223"/>
                <a:gd name="connsiteX8" fmla="*/ 12780 w 70289"/>
                <a:gd name="connsiteY8" fmla="*/ 35112 h 70223"/>
                <a:gd name="connsiteX9" fmla="*/ 35145 w 70289"/>
                <a:gd name="connsiteY9" fmla="*/ 12768 h 70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289" h="70223">
                  <a:moveTo>
                    <a:pt x="35145" y="70224"/>
                  </a:moveTo>
                  <a:cubicBezTo>
                    <a:pt x="54314" y="70224"/>
                    <a:pt x="70289" y="54264"/>
                    <a:pt x="70289" y="35112"/>
                  </a:cubicBezTo>
                  <a:cubicBezTo>
                    <a:pt x="70289" y="15960"/>
                    <a:pt x="54314" y="0"/>
                    <a:pt x="35145" y="0"/>
                  </a:cubicBezTo>
                  <a:cubicBezTo>
                    <a:pt x="15975" y="0"/>
                    <a:pt x="0" y="15960"/>
                    <a:pt x="0" y="35112"/>
                  </a:cubicBezTo>
                  <a:cubicBezTo>
                    <a:pt x="0" y="54264"/>
                    <a:pt x="15975" y="70224"/>
                    <a:pt x="35145" y="70224"/>
                  </a:cubicBezTo>
                  <a:close/>
                  <a:moveTo>
                    <a:pt x="35145" y="12768"/>
                  </a:moveTo>
                  <a:cubicBezTo>
                    <a:pt x="47286" y="12768"/>
                    <a:pt x="57509" y="22982"/>
                    <a:pt x="57509" y="35112"/>
                  </a:cubicBezTo>
                  <a:cubicBezTo>
                    <a:pt x="57509" y="47241"/>
                    <a:pt x="47286" y="57456"/>
                    <a:pt x="35145" y="57456"/>
                  </a:cubicBezTo>
                  <a:cubicBezTo>
                    <a:pt x="23004" y="57456"/>
                    <a:pt x="12780" y="47241"/>
                    <a:pt x="12780" y="35112"/>
                  </a:cubicBezTo>
                  <a:cubicBezTo>
                    <a:pt x="12780" y="22982"/>
                    <a:pt x="23004" y="12768"/>
                    <a:pt x="35145" y="12768"/>
                  </a:cubicBezTo>
                  <a:close/>
                </a:path>
              </a:pathLst>
            </a:custGeom>
            <a:grpFill/>
            <a:ln w="6390" cap="flat">
              <a:noFill/>
              <a:prstDash val="solid"/>
              <a:miter/>
            </a:ln>
          </p:spPr>
          <p:txBody>
            <a:bodyPr rtlCol="0" anchor="ctr"/>
            <a:lstStyle/>
            <a:p>
              <a:endParaRPr lang="en-US"/>
            </a:p>
          </p:txBody>
        </p:sp>
        <p:sp>
          <p:nvSpPr>
            <p:cNvPr id="25" name="Graphic 4">
              <a:extLst>
                <a:ext uri="{FF2B5EF4-FFF2-40B4-BE49-F238E27FC236}">
                  <a16:creationId xmlns:a16="http://schemas.microsoft.com/office/drawing/2014/main" id="{022E97A0-9B83-D694-B3DC-E176E2947EA4}"/>
                </a:ext>
              </a:extLst>
            </p:cNvPr>
            <p:cNvSpPr/>
            <p:nvPr/>
          </p:nvSpPr>
          <p:spPr>
            <a:xfrm>
              <a:off x="685001" y="1087993"/>
              <a:ext cx="12779" cy="12767"/>
            </a:xfrm>
            <a:custGeom>
              <a:avLst/>
              <a:gdLst>
                <a:gd name="connsiteX0" fmla="*/ 6390 w 12779"/>
                <a:gd name="connsiteY0" fmla="*/ 12768 h 12767"/>
                <a:gd name="connsiteX1" fmla="*/ 12780 w 12779"/>
                <a:gd name="connsiteY1" fmla="*/ 6384 h 12767"/>
                <a:gd name="connsiteX2" fmla="*/ 6390 w 12779"/>
                <a:gd name="connsiteY2" fmla="*/ 0 h 12767"/>
                <a:gd name="connsiteX3" fmla="*/ 6390 w 12779"/>
                <a:gd name="connsiteY3" fmla="*/ 0 h 12767"/>
                <a:gd name="connsiteX4" fmla="*/ 0 w 12779"/>
                <a:gd name="connsiteY4" fmla="*/ 6384 h 12767"/>
                <a:gd name="connsiteX5" fmla="*/ 6390 w 12779"/>
                <a:gd name="connsiteY5" fmla="*/ 12768 h 12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79" h="12767">
                  <a:moveTo>
                    <a:pt x="6390" y="12768"/>
                  </a:moveTo>
                  <a:cubicBezTo>
                    <a:pt x="10224" y="12768"/>
                    <a:pt x="12780" y="10214"/>
                    <a:pt x="12780" y="6384"/>
                  </a:cubicBezTo>
                  <a:cubicBezTo>
                    <a:pt x="12780" y="2554"/>
                    <a:pt x="10224" y="0"/>
                    <a:pt x="6390" y="0"/>
                  </a:cubicBezTo>
                  <a:lnTo>
                    <a:pt x="6390" y="0"/>
                  </a:lnTo>
                  <a:cubicBezTo>
                    <a:pt x="2556" y="0"/>
                    <a:pt x="0" y="2554"/>
                    <a:pt x="0" y="6384"/>
                  </a:cubicBezTo>
                  <a:cubicBezTo>
                    <a:pt x="0" y="10214"/>
                    <a:pt x="3195" y="12768"/>
                    <a:pt x="6390" y="12768"/>
                  </a:cubicBezTo>
                  <a:close/>
                </a:path>
              </a:pathLst>
            </a:custGeom>
            <a:grpFill/>
            <a:ln w="6390" cap="flat">
              <a:noFill/>
              <a:prstDash val="solid"/>
              <a:miter/>
            </a:ln>
          </p:spPr>
          <p:txBody>
            <a:bodyPr rtlCol="0" anchor="ctr"/>
            <a:lstStyle/>
            <a:p>
              <a:endParaRPr lang="en-US"/>
            </a:p>
          </p:txBody>
        </p:sp>
      </p:grpSp>
      <p:grpSp>
        <p:nvGrpSpPr>
          <p:cNvPr id="26" name="Graphic 4">
            <a:extLst>
              <a:ext uri="{FF2B5EF4-FFF2-40B4-BE49-F238E27FC236}">
                <a16:creationId xmlns:a16="http://schemas.microsoft.com/office/drawing/2014/main" id="{7E4B5FC0-5AE0-60B1-DBC7-550BB5850F9B}"/>
              </a:ext>
            </a:extLst>
          </p:cNvPr>
          <p:cNvGrpSpPr/>
          <p:nvPr/>
        </p:nvGrpSpPr>
        <p:grpSpPr>
          <a:xfrm>
            <a:off x="2689896" y="3895746"/>
            <a:ext cx="514628" cy="354646"/>
            <a:chOff x="3658079" y="2469486"/>
            <a:chExt cx="262306" cy="164707"/>
          </a:xfrm>
          <a:solidFill>
            <a:srgbClr val="86BC25"/>
          </a:solidFill>
        </p:grpSpPr>
        <p:sp>
          <p:nvSpPr>
            <p:cNvPr id="28" name="Graphic 4">
              <a:extLst>
                <a:ext uri="{FF2B5EF4-FFF2-40B4-BE49-F238E27FC236}">
                  <a16:creationId xmlns:a16="http://schemas.microsoft.com/office/drawing/2014/main" id="{4F4558F1-166D-F50C-2753-0231DB4E63A7}"/>
                </a:ext>
              </a:extLst>
            </p:cNvPr>
            <p:cNvSpPr/>
            <p:nvPr/>
          </p:nvSpPr>
          <p:spPr>
            <a:xfrm>
              <a:off x="3886998" y="2469486"/>
              <a:ext cx="33387" cy="116188"/>
            </a:xfrm>
            <a:custGeom>
              <a:avLst/>
              <a:gdLst>
                <a:gd name="connsiteX0" fmla="*/ 10863 w 33387"/>
                <a:gd name="connsiteY0" fmla="*/ 1915 h 116188"/>
                <a:gd name="connsiteX1" fmla="*/ 1917 w 33387"/>
                <a:gd name="connsiteY1" fmla="*/ 1915 h 116188"/>
                <a:gd name="connsiteX2" fmla="*/ 1917 w 33387"/>
                <a:gd name="connsiteY2" fmla="*/ 10853 h 116188"/>
                <a:gd name="connsiteX3" fmla="*/ 1917 w 33387"/>
                <a:gd name="connsiteY3" fmla="*/ 105336 h 116188"/>
                <a:gd name="connsiteX4" fmla="*/ 1917 w 33387"/>
                <a:gd name="connsiteY4" fmla="*/ 114273 h 116188"/>
                <a:gd name="connsiteX5" fmla="*/ 6390 w 33387"/>
                <a:gd name="connsiteY5" fmla="*/ 116188 h 116188"/>
                <a:gd name="connsiteX6" fmla="*/ 10863 w 33387"/>
                <a:gd name="connsiteY6" fmla="*/ 114273 h 116188"/>
                <a:gd name="connsiteX7" fmla="*/ 10863 w 33387"/>
                <a:gd name="connsiteY7" fmla="*/ 1915 h 11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87" h="116188">
                  <a:moveTo>
                    <a:pt x="10863" y="1915"/>
                  </a:moveTo>
                  <a:cubicBezTo>
                    <a:pt x="8307" y="-638"/>
                    <a:pt x="4473" y="-638"/>
                    <a:pt x="1917" y="1915"/>
                  </a:cubicBezTo>
                  <a:cubicBezTo>
                    <a:pt x="-639" y="4469"/>
                    <a:pt x="-639" y="8299"/>
                    <a:pt x="1917" y="10853"/>
                  </a:cubicBezTo>
                  <a:cubicBezTo>
                    <a:pt x="27477" y="37027"/>
                    <a:pt x="27477" y="78523"/>
                    <a:pt x="1917" y="105336"/>
                  </a:cubicBezTo>
                  <a:cubicBezTo>
                    <a:pt x="-639" y="107889"/>
                    <a:pt x="-639" y="111720"/>
                    <a:pt x="1917" y="114273"/>
                  </a:cubicBezTo>
                  <a:cubicBezTo>
                    <a:pt x="3195" y="115550"/>
                    <a:pt x="4473" y="116188"/>
                    <a:pt x="6390" y="116188"/>
                  </a:cubicBezTo>
                  <a:cubicBezTo>
                    <a:pt x="8307" y="116188"/>
                    <a:pt x="9585" y="115550"/>
                    <a:pt x="10863" y="114273"/>
                  </a:cubicBezTo>
                  <a:cubicBezTo>
                    <a:pt x="40896" y="82992"/>
                    <a:pt x="40896" y="33197"/>
                    <a:pt x="10863" y="1915"/>
                  </a:cubicBezTo>
                  <a:close/>
                </a:path>
              </a:pathLst>
            </a:custGeom>
            <a:grpFill/>
            <a:ln w="6390" cap="flat">
              <a:noFill/>
              <a:prstDash val="solid"/>
              <a:miter/>
            </a:ln>
          </p:spPr>
          <p:txBody>
            <a:bodyPr rtlCol="0" anchor="ctr"/>
            <a:lstStyle/>
            <a:p>
              <a:endParaRPr lang="en-US"/>
            </a:p>
          </p:txBody>
        </p:sp>
        <p:sp>
          <p:nvSpPr>
            <p:cNvPr id="36" name="Graphic 4">
              <a:extLst>
                <a:ext uri="{FF2B5EF4-FFF2-40B4-BE49-F238E27FC236}">
                  <a16:creationId xmlns:a16="http://schemas.microsoft.com/office/drawing/2014/main" id="{161CFB6A-0D84-E561-C841-FB125B4615A5}"/>
                </a:ext>
              </a:extLst>
            </p:cNvPr>
            <p:cNvSpPr/>
            <p:nvPr/>
          </p:nvSpPr>
          <p:spPr>
            <a:xfrm>
              <a:off x="3867189" y="2489915"/>
              <a:ext cx="25960" cy="75969"/>
            </a:xfrm>
            <a:custGeom>
              <a:avLst/>
              <a:gdLst>
                <a:gd name="connsiteX0" fmla="*/ 1917 w 25960"/>
                <a:gd name="connsiteY0" fmla="*/ 74054 h 75969"/>
                <a:gd name="connsiteX1" fmla="*/ 6390 w 25960"/>
                <a:gd name="connsiteY1" fmla="*/ 75969 h 75969"/>
                <a:gd name="connsiteX2" fmla="*/ 10863 w 25960"/>
                <a:gd name="connsiteY2" fmla="*/ 74054 h 75969"/>
                <a:gd name="connsiteX3" fmla="*/ 10863 w 25960"/>
                <a:gd name="connsiteY3" fmla="*/ 1915 h 75969"/>
                <a:gd name="connsiteX4" fmla="*/ 10863 w 25960"/>
                <a:gd name="connsiteY4" fmla="*/ 1915 h 75969"/>
                <a:gd name="connsiteX5" fmla="*/ 1917 w 25960"/>
                <a:gd name="connsiteY5" fmla="*/ 1915 h 75969"/>
                <a:gd name="connsiteX6" fmla="*/ 1917 w 25960"/>
                <a:gd name="connsiteY6" fmla="*/ 10853 h 75969"/>
                <a:gd name="connsiteX7" fmla="*/ 1917 w 25960"/>
                <a:gd name="connsiteY7" fmla="*/ 10853 h 75969"/>
                <a:gd name="connsiteX8" fmla="*/ 1917 w 25960"/>
                <a:gd name="connsiteY8" fmla="*/ 65117 h 75969"/>
                <a:gd name="connsiteX9" fmla="*/ 1917 w 25960"/>
                <a:gd name="connsiteY9" fmla="*/ 65117 h 75969"/>
                <a:gd name="connsiteX10" fmla="*/ 1917 w 25960"/>
                <a:gd name="connsiteY10" fmla="*/ 74054 h 75969"/>
                <a:gd name="connsiteX11" fmla="*/ 1917 w 25960"/>
                <a:gd name="connsiteY11" fmla="*/ 74054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60" h="75969">
                  <a:moveTo>
                    <a:pt x="1917" y="74054"/>
                  </a:moveTo>
                  <a:cubicBezTo>
                    <a:pt x="3195" y="75331"/>
                    <a:pt x="4473" y="75969"/>
                    <a:pt x="6390" y="75969"/>
                  </a:cubicBezTo>
                  <a:cubicBezTo>
                    <a:pt x="8307" y="75969"/>
                    <a:pt x="9585" y="75331"/>
                    <a:pt x="10863" y="74054"/>
                  </a:cubicBezTo>
                  <a:cubicBezTo>
                    <a:pt x="30672" y="54264"/>
                    <a:pt x="31311" y="21706"/>
                    <a:pt x="10863" y="1915"/>
                  </a:cubicBezTo>
                  <a:cubicBezTo>
                    <a:pt x="10863" y="1915"/>
                    <a:pt x="10863" y="1915"/>
                    <a:pt x="10863" y="1915"/>
                  </a:cubicBezTo>
                  <a:cubicBezTo>
                    <a:pt x="8307" y="-638"/>
                    <a:pt x="4473" y="-638"/>
                    <a:pt x="1917" y="1915"/>
                  </a:cubicBezTo>
                  <a:cubicBezTo>
                    <a:pt x="-639" y="4469"/>
                    <a:pt x="-639" y="8299"/>
                    <a:pt x="1917" y="10853"/>
                  </a:cubicBezTo>
                  <a:cubicBezTo>
                    <a:pt x="1917" y="10853"/>
                    <a:pt x="1917" y="10853"/>
                    <a:pt x="1917" y="10853"/>
                  </a:cubicBezTo>
                  <a:cubicBezTo>
                    <a:pt x="17253" y="25536"/>
                    <a:pt x="17253" y="49795"/>
                    <a:pt x="1917" y="65117"/>
                  </a:cubicBezTo>
                  <a:cubicBezTo>
                    <a:pt x="1917" y="65117"/>
                    <a:pt x="1917" y="65117"/>
                    <a:pt x="1917" y="65117"/>
                  </a:cubicBezTo>
                  <a:cubicBezTo>
                    <a:pt x="-639" y="67670"/>
                    <a:pt x="-639" y="71501"/>
                    <a:pt x="1917" y="74054"/>
                  </a:cubicBezTo>
                  <a:cubicBezTo>
                    <a:pt x="1917" y="74054"/>
                    <a:pt x="1917" y="74054"/>
                    <a:pt x="1917" y="74054"/>
                  </a:cubicBezTo>
                  <a:close/>
                </a:path>
              </a:pathLst>
            </a:custGeom>
            <a:grpFill/>
            <a:ln w="6390" cap="flat">
              <a:noFill/>
              <a:prstDash val="solid"/>
              <a:miter/>
            </a:ln>
          </p:spPr>
          <p:txBody>
            <a:bodyPr rtlCol="0" anchor="ctr"/>
            <a:lstStyle/>
            <a:p>
              <a:endParaRPr lang="en-US"/>
            </a:p>
          </p:txBody>
        </p:sp>
        <p:sp>
          <p:nvSpPr>
            <p:cNvPr id="37" name="Graphic 4">
              <a:extLst>
                <a:ext uri="{FF2B5EF4-FFF2-40B4-BE49-F238E27FC236}">
                  <a16:creationId xmlns:a16="http://schemas.microsoft.com/office/drawing/2014/main" id="{C5BD51C1-6D08-6A0D-82AE-43BE15EC3778}"/>
                </a:ext>
              </a:extLst>
            </p:cNvPr>
            <p:cNvSpPr/>
            <p:nvPr/>
          </p:nvSpPr>
          <p:spPr>
            <a:xfrm>
              <a:off x="3847381" y="2508429"/>
              <a:ext cx="18346" cy="37027"/>
            </a:xfrm>
            <a:custGeom>
              <a:avLst/>
              <a:gdLst>
                <a:gd name="connsiteX0" fmla="*/ 1917 w 18346"/>
                <a:gd name="connsiteY0" fmla="*/ 35112 h 37027"/>
                <a:gd name="connsiteX1" fmla="*/ 6390 w 18346"/>
                <a:gd name="connsiteY1" fmla="*/ 37027 h 37027"/>
                <a:gd name="connsiteX2" fmla="*/ 10863 w 18346"/>
                <a:gd name="connsiteY2" fmla="*/ 35112 h 37027"/>
                <a:gd name="connsiteX3" fmla="*/ 12780 w 18346"/>
                <a:gd name="connsiteY3" fmla="*/ 3830 h 37027"/>
                <a:gd name="connsiteX4" fmla="*/ 10863 w 18346"/>
                <a:gd name="connsiteY4" fmla="*/ 1915 h 37027"/>
                <a:gd name="connsiteX5" fmla="*/ 1917 w 18346"/>
                <a:gd name="connsiteY5" fmla="*/ 1915 h 37027"/>
                <a:gd name="connsiteX6" fmla="*/ 1917 w 18346"/>
                <a:gd name="connsiteY6" fmla="*/ 10853 h 37027"/>
                <a:gd name="connsiteX7" fmla="*/ 2556 w 18346"/>
                <a:gd name="connsiteY7" fmla="*/ 11491 h 37027"/>
                <a:gd name="connsiteX8" fmla="*/ 5751 w 18346"/>
                <a:gd name="connsiteY8" fmla="*/ 18514 h 37027"/>
                <a:gd name="connsiteX9" fmla="*/ 2556 w 18346"/>
                <a:gd name="connsiteY9" fmla="*/ 25536 h 37027"/>
                <a:gd name="connsiteX10" fmla="*/ 1917 w 18346"/>
                <a:gd name="connsiteY10" fmla="*/ 35112 h 3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346" h="37027">
                  <a:moveTo>
                    <a:pt x="1917" y="35112"/>
                  </a:moveTo>
                  <a:cubicBezTo>
                    <a:pt x="3195" y="36389"/>
                    <a:pt x="5112" y="37027"/>
                    <a:pt x="6390" y="37027"/>
                  </a:cubicBezTo>
                  <a:cubicBezTo>
                    <a:pt x="7668" y="37027"/>
                    <a:pt x="9585" y="36389"/>
                    <a:pt x="10863" y="35112"/>
                  </a:cubicBezTo>
                  <a:cubicBezTo>
                    <a:pt x="19809" y="26813"/>
                    <a:pt x="21087" y="12768"/>
                    <a:pt x="12780" y="3830"/>
                  </a:cubicBezTo>
                  <a:cubicBezTo>
                    <a:pt x="12141" y="3192"/>
                    <a:pt x="11502" y="2554"/>
                    <a:pt x="10863" y="1915"/>
                  </a:cubicBezTo>
                  <a:cubicBezTo>
                    <a:pt x="8307" y="-638"/>
                    <a:pt x="4473" y="-638"/>
                    <a:pt x="1917" y="1915"/>
                  </a:cubicBezTo>
                  <a:cubicBezTo>
                    <a:pt x="-639" y="4469"/>
                    <a:pt x="-639" y="8299"/>
                    <a:pt x="1917" y="10853"/>
                  </a:cubicBezTo>
                  <a:cubicBezTo>
                    <a:pt x="1917" y="10853"/>
                    <a:pt x="2556" y="11491"/>
                    <a:pt x="2556" y="11491"/>
                  </a:cubicBezTo>
                  <a:cubicBezTo>
                    <a:pt x="4473" y="13406"/>
                    <a:pt x="5751" y="15960"/>
                    <a:pt x="5751" y="18514"/>
                  </a:cubicBezTo>
                  <a:cubicBezTo>
                    <a:pt x="5751" y="21067"/>
                    <a:pt x="4473" y="23621"/>
                    <a:pt x="2556" y="25536"/>
                  </a:cubicBezTo>
                  <a:cubicBezTo>
                    <a:pt x="0" y="28728"/>
                    <a:pt x="0" y="32558"/>
                    <a:pt x="1917" y="35112"/>
                  </a:cubicBezTo>
                  <a:close/>
                </a:path>
              </a:pathLst>
            </a:custGeom>
            <a:grpFill/>
            <a:ln w="6390" cap="flat">
              <a:noFill/>
              <a:prstDash val="solid"/>
              <a:miter/>
            </a:ln>
          </p:spPr>
          <p:txBody>
            <a:bodyPr rtlCol="0" anchor="ctr"/>
            <a:lstStyle/>
            <a:p>
              <a:endParaRPr lang="en-US"/>
            </a:p>
          </p:txBody>
        </p:sp>
        <p:sp>
          <p:nvSpPr>
            <p:cNvPr id="47" name="Graphic 4">
              <a:extLst>
                <a:ext uri="{FF2B5EF4-FFF2-40B4-BE49-F238E27FC236}">
                  <a16:creationId xmlns:a16="http://schemas.microsoft.com/office/drawing/2014/main" id="{CABF3979-5923-F137-0FD7-27BD40F9DBDA}"/>
                </a:ext>
              </a:extLst>
            </p:cNvPr>
            <p:cNvSpPr/>
            <p:nvPr/>
          </p:nvSpPr>
          <p:spPr>
            <a:xfrm>
              <a:off x="3658079" y="2469486"/>
              <a:ext cx="33387" cy="116188"/>
            </a:xfrm>
            <a:custGeom>
              <a:avLst/>
              <a:gdLst>
                <a:gd name="connsiteX0" fmla="*/ 31471 w 33387"/>
                <a:gd name="connsiteY0" fmla="*/ 10853 h 116188"/>
                <a:gd name="connsiteX1" fmla="*/ 31471 w 33387"/>
                <a:gd name="connsiteY1" fmla="*/ 1915 h 116188"/>
                <a:gd name="connsiteX2" fmla="*/ 22525 w 33387"/>
                <a:gd name="connsiteY2" fmla="*/ 1915 h 116188"/>
                <a:gd name="connsiteX3" fmla="*/ 22525 w 33387"/>
                <a:gd name="connsiteY3" fmla="*/ 1915 h 116188"/>
                <a:gd name="connsiteX4" fmla="*/ 22525 w 33387"/>
                <a:gd name="connsiteY4" fmla="*/ 114273 h 116188"/>
                <a:gd name="connsiteX5" fmla="*/ 31471 w 33387"/>
                <a:gd name="connsiteY5" fmla="*/ 114273 h 116188"/>
                <a:gd name="connsiteX6" fmla="*/ 31471 w 33387"/>
                <a:gd name="connsiteY6" fmla="*/ 114273 h 116188"/>
                <a:gd name="connsiteX7" fmla="*/ 31471 w 33387"/>
                <a:gd name="connsiteY7" fmla="*/ 105336 h 116188"/>
                <a:gd name="connsiteX8" fmla="*/ 31471 w 33387"/>
                <a:gd name="connsiteY8" fmla="*/ 10853 h 11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87" h="116188">
                  <a:moveTo>
                    <a:pt x="31471" y="10853"/>
                  </a:moveTo>
                  <a:cubicBezTo>
                    <a:pt x="34026" y="8299"/>
                    <a:pt x="34026" y="4469"/>
                    <a:pt x="31471" y="1915"/>
                  </a:cubicBezTo>
                  <a:cubicBezTo>
                    <a:pt x="28915" y="-638"/>
                    <a:pt x="25081" y="-638"/>
                    <a:pt x="22525" y="1915"/>
                  </a:cubicBezTo>
                  <a:cubicBezTo>
                    <a:pt x="22525" y="1915"/>
                    <a:pt x="22525" y="1915"/>
                    <a:pt x="22525" y="1915"/>
                  </a:cubicBezTo>
                  <a:cubicBezTo>
                    <a:pt x="-7508" y="33197"/>
                    <a:pt x="-7508" y="82992"/>
                    <a:pt x="22525" y="114273"/>
                  </a:cubicBezTo>
                  <a:cubicBezTo>
                    <a:pt x="25081" y="116827"/>
                    <a:pt x="28915" y="116827"/>
                    <a:pt x="31471" y="114273"/>
                  </a:cubicBezTo>
                  <a:cubicBezTo>
                    <a:pt x="31471" y="114273"/>
                    <a:pt x="31471" y="114273"/>
                    <a:pt x="31471" y="114273"/>
                  </a:cubicBezTo>
                  <a:cubicBezTo>
                    <a:pt x="34026" y="111720"/>
                    <a:pt x="34026" y="107889"/>
                    <a:pt x="31471" y="105336"/>
                  </a:cubicBezTo>
                  <a:cubicBezTo>
                    <a:pt x="5911" y="79161"/>
                    <a:pt x="5911" y="37027"/>
                    <a:pt x="31471" y="10853"/>
                  </a:cubicBezTo>
                  <a:close/>
                </a:path>
              </a:pathLst>
            </a:custGeom>
            <a:grpFill/>
            <a:ln w="6390" cap="flat">
              <a:noFill/>
              <a:prstDash val="solid"/>
              <a:miter/>
            </a:ln>
          </p:spPr>
          <p:txBody>
            <a:bodyPr rtlCol="0" anchor="ctr"/>
            <a:lstStyle/>
            <a:p>
              <a:endParaRPr lang="en-US"/>
            </a:p>
          </p:txBody>
        </p:sp>
        <p:sp>
          <p:nvSpPr>
            <p:cNvPr id="48" name="Graphic 4">
              <a:extLst>
                <a:ext uri="{FF2B5EF4-FFF2-40B4-BE49-F238E27FC236}">
                  <a16:creationId xmlns:a16="http://schemas.microsoft.com/office/drawing/2014/main" id="{92ABAEA3-73F1-255B-5647-B71859D0BA19}"/>
                </a:ext>
              </a:extLst>
            </p:cNvPr>
            <p:cNvSpPr/>
            <p:nvPr/>
          </p:nvSpPr>
          <p:spPr>
            <a:xfrm>
              <a:off x="3684676" y="2489915"/>
              <a:ext cx="25960" cy="75969"/>
            </a:xfrm>
            <a:custGeom>
              <a:avLst/>
              <a:gdLst>
                <a:gd name="connsiteX0" fmla="*/ 15097 w 25960"/>
                <a:gd name="connsiteY0" fmla="*/ 74054 h 75969"/>
                <a:gd name="connsiteX1" fmla="*/ 24043 w 25960"/>
                <a:gd name="connsiteY1" fmla="*/ 74054 h 75969"/>
                <a:gd name="connsiteX2" fmla="*/ 24043 w 25960"/>
                <a:gd name="connsiteY2" fmla="*/ 74054 h 75969"/>
                <a:gd name="connsiteX3" fmla="*/ 24043 w 25960"/>
                <a:gd name="connsiteY3" fmla="*/ 65117 h 75969"/>
                <a:gd name="connsiteX4" fmla="*/ 24043 w 25960"/>
                <a:gd name="connsiteY4" fmla="*/ 65117 h 75969"/>
                <a:gd name="connsiteX5" fmla="*/ 24043 w 25960"/>
                <a:gd name="connsiteY5" fmla="*/ 10853 h 75969"/>
                <a:gd name="connsiteX6" fmla="*/ 24043 w 25960"/>
                <a:gd name="connsiteY6" fmla="*/ 10853 h 75969"/>
                <a:gd name="connsiteX7" fmla="*/ 24043 w 25960"/>
                <a:gd name="connsiteY7" fmla="*/ 1915 h 75969"/>
                <a:gd name="connsiteX8" fmla="*/ 15097 w 25960"/>
                <a:gd name="connsiteY8" fmla="*/ 1915 h 75969"/>
                <a:gd name="connsiteX9" fmla="*/ 15097 w 25960"/>
                <a:gd name="connsiteY9" fmla="*/ 74054 h 75969"/>
                <a:gd name="connsiteX10" fmla="*/ 15097 w 25960"/>
                <a:gd name="connsiteY10" fmla="*/ 74054 h 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960" h="75969">
                  <a:moveTo>
                    <a:pt x="15097" y="74054"/>
                  </a:moveTo>
                  <a:cubicBezTo>
                    <a:pt x="17653" y="76608"/>
                    <a:pt x="21487" y="76608"/>
                    <a:pt x="24043" y="74054"/>
                  </a:cubicBezTo>
                  <a:cubicBezTo>
                    <a:pt x="24043" y="74054"/>
                    <a:pt x="24043" y="74054"/>
                    <a:pt x="24043" y="74054"/>
                  </a:cubicBezTo>
                  <a:cubicBezTo>
                    <a:pt x="26599" y="71501"/>
                    <a:pt x="26599" y="67670"/>
                    <a:pt x="24043" y="65117"/>
                  </a:cubicBezTo>
                  <a:cubicBezTo>
                    <a:pt x="24043" y="65117"/>
                    <a:pt x="24043" y="65117"/>
                    <a:pt x="24043" y="65117"/>
                  </a:cubicBezTo>
                  <a:cubicBezTo>
                    <a:pt x="8707" y="50433"/>
                    <a:pt x="8707" y="26174"/>
                    <a:pt x="24043" y="10853"/>
                  </a:cubicBezTo>
                  <a:cubicBezTo>
                    <a:pt x="24043" y="10853"/>
                    <a:pt x="24043" y="10853"/>
                    <a:pt x="24043" y="10853"/>
                  </a:cubicBezTo>
                  <a:cubicBezTo>
                    <a:pt x="26599" y="8299"/>
                    <a:pt x="26599" y="4469"/>
                    <a:pt x="24043" y="1915"/>
                  </a:cubicBezTo>
                  <a:cubicBezTo>
                    <a:pt x="21487" y="-638"/>
                    <a:pt x="17653" y="-638"/>
                    <a:pt x="15097" y="1915"/>
                  </a:cubicBezTo>
                  <a:cubicBezTo>
                    <a:pt x="-4712" y="21706"/>
                    <a:pt x="-5351" y="53625"/>
                    <a:pt x="15097" y="74054"/>
                  </a:cubicBezTo>
                  <a:cubicBezTo>
                    <a:pt x="15097" y="74054"/>
                    <a:pt x="15097" y="74054"/>
                    <a:pt x="15097" y="74054"/>
                  </a:cubicBezTo>
                  <a:close/>
                </a:path>
              </a:pathLst>
            </a:custGeom>
            <a:grpFill/>
            <a:ln w="6390" cap="flat">
              <a:noFill/>
              <a:prstDash val="solid"/>
              <a:miter/>
            </a:ln>
          </p:spPr>
          <p:txBody>
            <a:bodyPr rtlCol="0" anchor="ctr"/>
            <a:lstStyle/>
            <a:p>
              <a:endParaRPr lang="en-US"/>
            </a:p>
          </p:txBody>
        </p:sp>
        <p:sp>
          <p:nvSpPr>
            <p:cNvPr id="49" name="Graphic 4">
              <a:extLst>
                <a:ext uri="{FF2B5EF4-FFF2-40B4-BE49-F238E27FC236}">
                  <a16:creationId xmlns:a16="http://schemas.microsoft.com/office/drawing/2014/main" id="{17596C2A-7422-B539-2875-30C661197960}"/>
                </a:ext>
              </a:extLst>
            </p:cNvPr>
            <p:cNvSpPr/>
            <p:nvPr/>
          </p:nvSpPr>
          <p:spPr>
            <a:xfrm>
              <a:off x="3712737" y="2510256"/>
              <a:ext cx="17707" cy="35838"/>
            </a:xfrm>
            <a:custGeom>
              <a:avLst/>
              <a:gdLst>
                <a:gd name="connsiteX0" fmla="*/ 11318 w 17707"/>
                <a:gd name="connsiteY0" fmla="*/ 35839 h 35838"/>
                <a:gd name="connsiteX1" fmla="*/ 17707 w 17707"/>
                <a:gd name="connsiteY1" fmla="*/ 29455 h 35838"/>
                <a:gd name="connsiteX2" fmla="*/ 15791 w 17707"/>
                <a:gd name="connsiteY2" fmla="*/ 24986 h 35838"/>
                <a:gd name="connsiteX3" fmla="*/ 12596 w 17707"/>
                <a:gd name="connsiteY3" fmla="*/ 17964 h 35838"/>
                <a:gd name="connsiteX4" fmla="*/ 15791 w 17707"/>
                <a:gd name="connsiteY4" fmla="*/ 10941 h 35838"/>
                <a:gd name="connsiteX5" fmla="*/ 15791 w 17707"/>
                <a:gd name="connsiteY5" fmla="*/ 2004 h 35838"/>
                <a:gd name="connsiteX6" fmla="*/ 7484 w 17707"/>
                <a:gd name="connsiteY6" fmla="*/ 1365 h 35838"/>
                <a:gd name="connsiteX7" fmla="*/ 5567 w 17707"/>
                <a:gd name="connsiteY7" fmla="*/ 32647 h 35838"/>
                <a:gd name="connsiteX8" fmla="*/ 7484 w 17707"/>
                <a:gd name="connsiteY8" fmla="*/ 34562 h 35838"/>
                <a:gd name="connsiteX9" fmla="*/ 11318 w 17707"/>
                <a:gd name="connsiteY9" fmla="*/ 35839 h 35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07" h="35838">
                  <a:moveTo>
                    <a:pt x="11318" y="35839"/>
                  </a:moveTo>
                  <a:cubicBezTo>
                    <a:pt x="15152" y="35839"/>
                    <a:pt x="17707" y="32647"/>
                    <a:pt x="17707" y="29455"/>
                  </a:cubicBezTo>
                  <a:cubicBezTo>
                    <a:pt x="17707" y="27539"/>
                    <a:pt x="17069" y="26263"/>
                    <a:pt x="15791" y="24986"/>
                  </a:cubicBezTo>
                  <a:cubicBezTo>
                    <a:pt x="13874" y="23071"/>
                    <a:pt x="12596" y="20517"/>
                    <a:pt x="12596" y="17964"/>
                  </a:cubicBezTo>
                  <a:cubicBezTo>
                    <a:pt x="12596" y="15410"/>
                    <a:pt x="13874" y="12856"/>
                    <a:pt x="15791" y="10941"/>
                  </a:cubicBezTo>
                  <a:cubicBezTo>
                    <a:pt x="18347" y="8388"/>
                    <a:pt x="18347" y="4557"/>
                    <a:pt x="15791" y="2004"/>
                  </a:cubicBezTo>
                  <a:cubicBezTo>
                    <a:pt x="13234" y="-550"/>
                    <a:pt x="10039" y="-550"/>
                    <a:pt x="7484" y="1365"/>
                  </a:cubicBezTo>
                  <a:cubicBezTo>
                    <a:pt x="-1462" y="9664"/>
                    <a:pt x="-2740" y="23709"/>
                    <a:pt x="5567" y="32647"/>
                  </a:cubicBezTo>
                  <a:cubicBezTo>
                    <a:pt x="6206" y="33285"/>
                    <a:pt x="6844" y="33923"/>
                    <a:pt x="7484" y="34562"/>
                  </a:cubicBezTo>
                  <a:cubicBezTo>
                    <a:pt x="8123" y="35200"/>
                    <a:pt x="9401" y="35839"/>
                    <a:pt x="11318" y="35839"/>
                  </a:cubicBezTo>
                  <a:close/>
                </a:path>
              </a:pathLst>
            </a:custGeom>
            <a:grpFill/>
            <a:ln w="6390" cap="flat">
              <a:noFill/>
              <a:prstDash val="solid"/>
              <a:miter/>
            </a:ln>
          </p:spPr>
          <p:txBody>
            <a:bodyPr rtlCol="0" anchor="ctr"/>
            <a:lstStyle/>
            <a:p>
              <a:endParaRPr lang="en-US"/>
            </a:p>
          </p:txBody>
        </p:sp>
        <p:sp>
          <p:nvSpPr>
            <p:cNvPr id="50" name="Graphic 4">
              <a:extLst>
                <a:ext uri="{FF2B5EF4-FFF2-40B4-BE49-F238E27FC236}">
                  <a16:creationId xmlns:a16="http://schemas.microsoft.com/office/drawing/2014/main" id="{CA95564D-6D47-8534-753A-2947054FB785}"/>
                </a:ext>
              </a:extLst>
            </p:cNvPr>
            <p:cNvSpPr/>
            <p:nvPr/>
          </p:nvSpPr>
          <p:spPr>
            <a:xfrm>
              <a:off x="3695861" y="2480339"/>
              <a:ext cx="186663" cy="153854"/>
            </a:xfrm>
            <a:custGeom>
              <a:avLst/>
              <a:gdLst>
                <a:gd name="connsiteX0" fmla="*/ 103595 w 186663"/>
                <a:gd name="connsiteY0" fmla="*/ 5746 h 153854"/>
                <a:gd name="connsiteX1" fmla="*/ 93371 w 186663"/>
                <a:gd name="connsiteY1" fmla="*/ 0 h 153854"/>
                <a:gd name="connsiteX2" fmla="*/ 82508 w 186663"/>
                <a:gd name="connsiteY2" fmla="*/ 5746 h 153854"/>
                <a:gd name="connsiteX3" fmla="*/ 1995 w 186663"/>
                <a:gd name="connsiteY3" fmla="*/ 134702 h 153854"/>
                <a:gd name="connsiteX4" fmla="*/ 5829 w 186663"/>
                <a:gd name="connsiteY4" fmla="*/ 151939 h 153854"/>
                <a:gd name="connsiteX5" fmla="*/ 12218 w 186663"/>
                <a:gd name="connsiteY5" fmla="*/ 153854 h 153854"/>
                <a:gd name="connsiteX6" fmla="*/ 173884 w 186663"/>
                <a:gd name="connsiteY6" fmla="*/ 153854 h 153854"/>
                <a:gd name="connsiteX7" fmla="*/ 186664 w 186663"/>
                <a:gd name="connsiteY7" fmla="*/ 141724 h 153854"/>
                <a:gd name="connsiteX8" fmla="*/ 184747 w 186663"/>
                <a:gd name="connsiteY8" fmla="*/ 134702 h 153854"/>
                <a:gd name="connsiteX9" fmla="*/ 103595 w 186663"/>
                <a:gd name="connsiteY9" fmla="*/ 5746 h 153854"/>
                <a:gd name="connsiteX10" fmla="*/ 12218 w 186663"/>
                <a:gd name="connsiteY10" fmla="*/ 141724 h 153854"/>
                <a:gd name="connsiteX11" fmla="*/ 92732 w 186663"/>
                <a:gd name="connsiteY11" fmla="*/ 12768 h 153854"/>
                <a:gd name="connsiteX12" fmla="*/ 173245 w 186663"/>
                <a:gd name="connsiteY12" fmla="*/ 141086 h 153854"/>
                <a:gd name="connsiteX13" fmla="*/ 12218 w 186663"/>
                <a:gd name="connsiteY13" fmla="*/ 141724 h 15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663" h="153854">
                  <a:moveTo>
                    <a:pt x="103595" y="5746"/>
                  </a:moveTo>
                  <a:cubicBezTo>
                    <a:pt x="101039" y="2554"/>
                    <a:pt x="97205" y="0"/>
                    <a:pt x="93371" y="0"/>
                  </a:cubicBezTo>
                  <a:cubicBezTo>
                    <a:pt x="88898" y="0"/>
                    <a:pt x="85064" y="1915"/>
                    <a:pt x="82508" y="5746"/>
                  </a:cubicBezTo>
                  <a:lnTo>
                    <a:pt x="1995" y="134702"/>
                  </a:lnTo>
                  <a:cubicBezTo>
                    <a:pt x="-1839" y="140448"/>
                    <a:pt x="78" y="148108"/>
                    <a:pt x="5829" y="151939"/>
                  </a:cubicBezTo>
                  <a:cubicBezTo>
                    <a:pt x="7745" y="153216"/>
                    <a:pt x="10302" y="153854"/>
                    <a:pt x="12218" y="153854"/>
                  </a:cubicBezTo>
                  <a:lnTo>
                    <a:pt x="173884" y="153854"/>
                  </a:lnTo>
                  <a:cubicBezTo>
                    <a:pt x="180913" y="153854"/>
                    <a:pt x="186025" y="148108"/>
                    <a:pt x="186664" y="141724"/>
                  </a:cubicBezTo>
                  <a:cubicBezTo>
                    <a:pt x="186664" y="139171"/>
                    <a:pt x="186025" y="136617"/>
                    <a:pt x="184747" y="134702"/>
                  </a:cubicBezTo>
                  <a:lnTo>
                    <a:pt x="103595" y="5746"/>
                  </a:lnTo>
                  <a:close/>
                  <a:moveTo>
                    <a:pt x="12218" y="141724"/>
                  </a:moveTo>
                  <a:lnTo>
                    <a:pt x="92732" y="12768"/>
                  </a:lnTo>
                  <a:lnTo>
                    <a:pt x="173245" y="141086"/>
                  </a:lnTo>
                  <a:lnTo>
                    <a:pt x="12218" y="141724"/>
                  </a:lnTo>
                  <a:close/>
                </a:path>
              </a:pathLst>
            </a:custGeom>
            <a:grpFill/>
            <a:ln w="6390" cap="flat">
              <a:noFill/>
              <a:prstDash val="solid"/>
              <a:miter/>
            </a:ln>
          </p:spPr>
          <p:txBody>
            <a:bodyPr rtlCol="0" anchor="ctr"/>
            <a:lstStyle/>
            <a:p>
              <a:endParaRPr lang="en-US"/>
            </a:p>
          </p:txBody>
        </p:sp>
        <p:sp>
          <p:nvSpPr>
            <p:cNvPr id="51" name="Graphic 4">
              <a:extLst>
                <a:ext uri="{FF2B5EF4-FFF2-40B4-BE49-F238E27FC236}">
                  <a16:creationId xmlns:a16="http://schemas.microsoft.com/office/drawing/2014/main" id="{69CD5CAD-7357-A7E1-8BC1-DD4E63B98B6C}"/>
                </a:ext>
              </a:extLst>
            </p:cNvPr>
            <p:cNvSpPr/>
            <p:nvPr/>
          </p:nvSpPr>
          <p:spPr>
            <a:xfrm>
              <a:off x="3782842" y="2523750"/>
              <a:ext cx="12779" cy="63201"/>
            </a:xfrm>
            <a:custGeom>
              <a:avLst/>
              <a:gdLst>
                <a:gd name="connsiteX0" fmla="*/ 0 w 12779"/>
                <a:gd name="connsiteY0" fmla="*/ 6384 h 63201"/>
                <a:gd name="connsiteX1" fmla="*/ 0 w 12779"/>
                <a:gd name="connsiteY1" fmla="*/ 56817 h 63201"/>
                <a:gd name="connsiteX2" fmla="*/ 6390 w 12779"/>
                <a:gd name="connsiteY2" fmla="*/ 63201 h 63201"/>
                <a:gd name="connsiteX3" fmla="*/ 12780 w 12779"/>
                <a:gd name="connsiteY3" fmla="*/ 56817 h 63201"/>
                <a:gd name="connsiteX4" fmla="*/ 12780 w 12779"/>
                <a:gd name="connsiteY4" fmla="*/ 6384 h 63201"/>
                <a:gd name="connsiteX5" fmla="*/ 6390 w 12779"/>
                <a:gd name="connsiteY5" fmla="*/ 0 h 63201"/>
                <a:gd name="connsiteX6" fmla="*/ 0 w 12779"/>
                <a:gd name="connsiteY6" fmla="*/ 6384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63201">
                  <a:moveTo>
                    <a:pt x="0" y="6384"/>
                  </a:moveTo>
                  <a:lnTo>
                    <a:pt x="0" y="56817"/>
                  </a:lnTo>
                  <a:cubicBezTo>
                    <a:pt x="0" y="60648"/>
                    <a:pt x="2556" y="63201"/>
                    <a:pt x="6390" y="63201"/>
                  </a:cubicBezTo>
                  <a:cubicBezTo>
                    <a:pt x="10224" y="63201"/>
                    <a:pt x="12780" y="60648"/>
                    <a:pt x="12780" y="56817"/>
                  </a:cubicBezTo>
                  <a:lnTo>
                    <a:pt x="12780" y="6384"/>
                  </a:lnTo>
                  <a:cubicBezTo>
                    <a:pt x="12780" y="2554"/>
                    <a:pt x="10224" y="0"/>
                    <a:pt x="6390" y="0"/>
                  </a:cubicBezTo>
                  <a:cubicBezTo>
                    <a:pt x="2556" y="0"/>
                    <a:pt x="0" y="3192"/>
                    <a:pt x="0" y="6384"/>
                  </a:cubicBezTo>
                  <a:close/>
                </a:path>
              </a:pathLst>
            </a:custGeom>
            <a:grpFill/>
            <a:ln w="6390" cap="flat">
              <a:noFill/>
              <a:prstDash val="solid"/>
              <a:miter/>
            </a:ln>
          </p:spPr>
          <p:txBody>
            <a:bodyPr rtlCol="0" anchor="ctr"/>
            <a:lstStyle/>
            <a:p>
              <a:endParaRPr lang="en-US"/>
            </a:p>
          </p:txBody>
        </p:sp>
        <p:sp>
          <p:nvSpPr>
            <p:cNvPr id="52" name="Graphic 4">
              <a:extLst>
                <a:ext uri="{FF2B5EF4-FFF2-40B4-BE49-F238E27FC236}">
                  <a16:creationId xmlns:a16="http://schemas.microsoft.com/office/drawing/2014/main" id="{F467D3C2-2BFF-9832-E228-9AD0485C326C}"/>
                </a:ext>
              </a:extLst>
            </p:cNvPr>
            <p:cNvSpPr/>
            <p:nvPr/>
          </p:nvSpPr>
          <p:spPr>
            <a:xfrm>
              <a:off x="3782842" y="2592697"/>
              <a:ext cx="12779" cy="19790"/>
            </a:xfrm>
            <a:custGeom>
              <a:avLst/>
              <a:gdLst>
                <a:gd name="connsiteX0" fmla="*/ 6390 w 12779"/>
                <a:gd name="connsiteY0" fmla="*/ 0 h 19790"/>
                <a:gd name="connsiteX1" fmla="*/ 0 w 12779"/>
                <a:gd name="connsiteY1" fmla="*/ 6384 h 19790"/>
                <a:gd name="connsiteX2" fmla="*/ 0 w 12779"/>
                <a:gd name="connsiteY2" fmla="*/ 13406 h 19790"/>
                <a:gd name="connsiteX3" fmla="*/ 6390 w 12779"/>
                <a:gd name="connsiteY3" fmla="*/ 19790 h 19790"/>
                <a:gd name="connsiteX4" fmla="*/ 12780 w 12779"/>
                <a:gd name="connsiteY4" fmla="*/ 13406 h 19790"/>
                <a:gd name="connsiteX5" fmla="*/ 12780 w 12779"/>
                <a:gd name="connsiteY5" fmla="*/ 6384 h 19790"/>
                <a:gd name="connsiteX6" fmla="*/ 6390 w 12779"/>
                <a:gd name="connsiteY6" fmla="*/ 0 h 1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9" h="19790">
                  <a:moveTo>
                    <a:pt x="6390" y="0"/>
                  </a:moveTo>
                  <a:cubicBezTo>
                    <a:pt x="2556" y="0"/>
                    <a:pt x="0" y="2554"/>
                    <a:pt x="0" y="6384"/>
                  </a:cubicBezTo>
                  <a:lnTo>
                    <a:pt x="0" y="13406"/>
                  </a:lnTo>
                  <a:cubicBezTo>
                    <a:pt x="0" y="17237"/>
                    <a:pt x="2556" y="19790"/>
                    <a:pt x="6390" y="19790"/>
                  </a:cubicBezTo>
                  <a:cubicBezTo>
                    <a:pt x="10224" y="19790"/>
                    <a:pt x="12780" y="17237"/>
                    <a:pt x="12780" y="13406"/>
                  </a:cubicBezTo>
                  <a:lnTo>
                    <a:pt x="12780" y="6384"/>
                  </a:lnTo>
                  <a:cubicBezTo>
                    <a:pt x="12780" y="3192"/>
                    <a:pt x="10224" y="0"/>
                    <a:pt x="6390" y="0"/>
                  </a:cubicBezTo>
                  <a:close/>
                </a:path>
              </a:pathLst>
            </a:custGeom>
            <a:grpFill/>
            <a:ln w="6390" cap="flat">
              <a:noFill/>
              <a:prstDash val="solid"/>
              <a:miter/>
            </a:ln>
          </p:spPr>
          <p:txBody>
            <a:bodyPr rtlCol="0" anchor="ctr"/>
            <a:lstStyle/>
            <a:p>
              <a:endParaRPr lang="en-US"/>
            </a:p>
          </p:txBody>
        </p:sp>
      </p:grpSp>
    </p:spTree>
    <p:extLst>
      <p:ext uri="{BB962C8B-B14F-4D97-AF65-F5344CB8AC3E}">
        <p14:creationId xmlns:p14="http://schemas.microsoft.com/office/powerpoint/2010/main" val="96234894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75A7883E-8CE3-AE04-4852-C2E61F9D3281}"/>
              </a:ext>
            </a:extLst>
          </p:cNvPr>
          <p:cNvSpPr/>
          <p:nvPr/>
        </p:nvSpPr>
        <p:spPr bwMode="gray">
          <a:xfrm>
            <a:off x="358219" y="1502188"/>
            <a:ext cx="5585381" cy="1194008"/>
          </a:xfrm>
          <a:prstGeom prst="rect">
            <a:avLst/>
          </a:prstGeom>
          <a:solidFill>
            <a:srgbClr val="9DD4CF">
              <a:alpha val="0"/>
            </a:srgbClr>
          </a:solid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srgbClr val="86BC25"/>
                </a:solidFill>
                <a:effectLst/>
                <a:uLnTx/>
                <a:uFillTx/>
                <a:latin typeface="+mj-lt"/>
                <a:ea typeface="+mn-ea"/>
                <a:cs typeface="+mn-cs"/>
              </a:rPr>
              <a:t>Proactively increase preparedness for a catastrophic incident</a:t>
            </a:r>
          </a:p>
          <a:p>
            <a:pPr algn="ctr">
              <a:spcBef>
                <a:spcPts val="600"/>
              </a:spcBef>
              <a:buFont typeface="Wingdings 2" pitchFamily="18" charset="2"/>
              <a:buNone/>
            </a:pPr>
            <a:r>
              <a:rPr lang="en-GB" sz="1200" b="1" i="1" dirty="0"/>
              <a:t>Before an incident</a:t>
            </a:r>
            <a:r>
              <a:rPr lang="en-GB" sz="1200" i="1" dirty="0"/>
              <a:t> work on </a:t>
            </a:r>
            <a:r>
              <a:rPr lang="en-GB" sz="1200" dirty="0"/>
              <a:t>increasing your preparedness for a catastrophic cyber incident. This will help to reduce the impact of a such  an incident and enable a quicker return to business as usual. We recommend focusing on five pillars:</a:t>
            </a:r>
          </a:p>
        </p:txBody>
      </p:sp>
      <p:sp>
        <p:nvSpPr>
          <p:cNvPr id="48" name="Rectangle 47">
            <a:extLst>
              <a:ext uri="{FF2B5EF4-FFF2-40B4-BE49-F238E27FC236}">
                <a16:creationId xmlns:a16="http://schemas.microsoft.com/office/drawing/2014/main" id="{2AE42469-578C-45BB-E751-FC1988A3FFEE}"/>
              </a:ext>
            </a:extLst>
          </p:cNvPr>
          <p:cNvSpPr/>
          <p:nvPr/>
        </p:nvSpPr>
        <p:spPr bwMode="gray">
          <a:xfrm>
            <a:off x="451105" y="3172667"/>
            <a:ext cx="5500370" cy="2905760"/>
          </a:xfrm>
          <a:prstGeom prst="rect">
            <a:avLst/>
          </a:prstGeom>
          <a:solidFill>
            <a:srgbClr val="FFFFFF"/>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50" name="Rectangle 49">
            <a:extLst>
              <a:ext uri="{FF2B5EF4-FFF2-40B4-BE49-F238E27FC236}">
                <a16:creationId xmlns:a16="http://schemas.microsoft.com/office/drawing/2014/main" id="{B37F558F-599B-6A35-0C36-1700CDD7D0E7}"/>
              </a:ext>
            </a:extLst>
          </p:cNvPr>
          <p:cNvSpPr/>
          <p:nvPr/>
        </p:nvSpPr>
        <p:spPr bwMode="gray">
          <a:xfrm>
            <a:off x="6248401" y="1502186"/>
            <a:ext cx="5585380" cy="1194005"/>
          </a:xfrm>
          <a:prstGeom prst="rect">
            <a:avLst/>
          </a:prstGeom>
          <a:solidFill>
            <a:srgbClr val="0097A9">
              <a:alpha val="0"/>
            </a:srgbClr>
          </a:solidFill>
          <a:ln w="19050" algn="ctr">
            <a:noFill/>
            <a:miter lim="800000"/>
            <a:headEnd/>
            <a:tailEnd/>
          </a:ln>
        </p:spPr>
        <p:txBody>
          <a:bodyPr wrap="square" lIns="88900" tIns="88900" rIns="88900" bIns="88900" rtlCol="0" anchor="t"/>
          <a:lstStyle/>
          <a:p>
            <a:pPr marL="0" marR="0" lvl="0" indent="0" algn="ctr" defTabSz="121917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schemeClr val="accent6"/>
                </a:solidFill>
                <a:effectLst/>
                <a:uLnTx/>
                <a:uFillTx/>
                <a:latin typeface="+mj-lt"/>
                <a:ea typeface="+mn-ea"/>
                <a:cs typeface="+mn-cs"/>
              </a:rPr>
              <a:t>Respond and recover from an incident</a:t>
            </a:r>
          </a:p>
          <a:p>
            <a:pPr algn="ctr">
              <a:spcBef>
                <a:spcPts val="600"/>
              </a:spcBef>
              <a:buFont typeface="Wingdings 2" pitchFamily="18" charset="2"/>
              <a:buNone/>
            </a:pPr>
            <a:r>
              <a:rPr lang="en-GB" sz="1200" b="1" i="1" dirty="0"/>
              <a:t>After an incident</a:t>
            </a:r>
            <a:r>
              <a:rPr lang="en-GB" sz="1200" i="1" dirty="0"/>
              <a:t> </a:t>
            </a:r>
            <a:r>
              <a:rPr lang="en-GB" sz="1200" dirty="0"/>
              <a:t>It is imperative to respond to the extinction level cyber event and recover your Minimum Viable Company (MVC). Post response, focus on ]securing and stabilising your organisation, before transforming to a secured, future state. </a:t>
            </a:r>
          </a:p>
        </p:txBody>
      </p:sp>
      <p:grpSp>
        <p:nvGrpSpPr>
          <p:cNvPr id="52" name="Group 423">
            <a:extLst>
              <a:ext uri="{FF2B5EF4-FFF2-40B4-BE49-F238E27FC236}">
                <a16:creationId xmlns:a16="http://schemas.microsoft.com/office/drawing/2014/main" id="{ECADE750-639E-C50B-ECE2-F74AD521D413}"/>
              </a:ext>
            </a:extLst>
          </p:cNvPr>
          <p:cNvGrpSpPr>
            <a:grpSpLocks noChangeAspect="1"/>
          </p:cNvGrpSpPr>
          <p:nvPr/>
        </p:nvGrpSpPr>
        <p:grpSpPr bwMode="auto">
          <a:xfrm>
            <a:off x="567862" y="4844185"/>
            <a:ext cx="340769" cy="344518"/>
            <a:chOff x="4285" y="1550"/>
            <a:chExt cx="340" cy="340"/>
          </a:xfrm>
          <a:solidFill>
            <a:srgbClr val="007680"/>
          </a:solidFill>
        </p:grpSpPr>
        <p:sp>
          <p:nvSpPr>
            <p:cNvPr id="53" name="Freeform 424">
              <a:extLst>
                <a:ext uri="{FF2B5EF4-FFF2-40B4-BE49-F238E27FC236}">
                  <a16:creationId xmlns:a16="http://schemas.microsoft.com/office/drawing/2014/main" id="{65512BF5-4269-2E37-596F-82BDFAF3DCBD}"/>
                </a:ext>
              </a:extLst>
            </p:cNvPr>
            <p:cNvSpPr>
              <a:spLocks noEditPoints="1"/>
            </p:cNvSpPr>
            <p:nvPr/>
          </p:nvSpPr>
          <p:spPr bwMode="auto">
            <a:xfrm>
              <a:off x="4285" y="1550"/>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sp>
          <p:nvSpPr>
            <p:cNvPr id="54" name="Freeform 425">
              <a:extLst>
                <a:ext uri="{FF2B5EF4-FFF2-40B4-BE49-F238E27FC236}">
                  <a16:creationId xmlns:a16="http://schemas.microsoft.com/office/drawing/2014/main" id="{85ECF1CF-EE5B-602D-215B-3CED2DD094A9}"/>
                </a:ext>
              </a:extLst>
            </p:cNvPr>
            <p:cNvSpPr>
              <a:spLocks noEditPoints="1"/>
            </p:cNvSpPr>
            <p:nvPr/>
          </p:nvSpPr>
          <p:spPr bwMode="auto">
            <a:xfrm>
              <a:off x="4354" y="1637"/>
              <a:ext cx="201" cy="189"/>
            </a:xfrm>
            <a:custGeom>
              <a:avLst/>
              <a:gdLst>
                <a:gd name="T0" fmla="*/ 302 w 303"/>
                <a:gd name="T1" fmla="*/ 91 h 285"/>
                <a:gd name="T2" fmla="*/ 279 w 303"/>
                <a:gd name="T3" fmla="*/ 8 h 285"/>
                <a:gd name="T4" fmla="*/ 274 w 303"/>
                <a:gd name="T5" fmla="*/ 2 h 285"/>
                <a:gd name="T6" fmla="*/ 266 w 303"/>
                <a:gd name="T7" fmla="*/ 1 h 285"/>
                <a:gd name="T8" fmla="*/ 225 w 303"/>
                <a:gd name="T9" fmla="*/ 12 h 285"/>
                <a:gd name="T10" fmla="*/ 218 w 303"/>
                <a:gd name="T11" fmla="*/ 25 h 285"/>
                <a:gd name="T12" fmla="*/ 135 w 303"/>
                <a:gd name="T13" fmla="*/ 48 h 285"/>
                <a:gd name="T14" fmla="*/ 128 w 303"/>
                <a:gd name="T15" fmla="*/ 57 h 285"/>
                <a:gd name="T16" fmla="*/ 24 w 303"/>
                <a:gd name="T17" fmla="*/ 85 h 285"/>
                <a:gd name="T18" fmla="*/ 22 w 303"/>
                <a:gd name="T19" fmla="*/ 78 h 285"/>
                <a:gd name="T20" fmla="*/ 9 w 303"/>
                <a:gd name="T21" fmla="*/ 71 h 285"/>
                <a:gd name="T22" fmla="*/ 2 w 303"/>
                <a:gd name="T23" fmla="*/ 84 h 285"/>
                <a:gd name="T24" fmla="*/ 24 w 303"/>
                <a:gd name="T25" fmla="*/ 166 h 285"/>
                <a:gd name="T26" fmla="*/ 34 w 303"/>
                <a:gd name="T27" fmla="*/ 174 h 285"/>
                <a:gd name="T28" fmla="*/ 37 w 303"/>
                <a:gd name="T29" fmla="*/ 174 h 285"/>
                <a:gd name="T30" fmla="*/ 45 w 303"/>
                <a:gd name="T31" fmla="*/ 161 h 285"/>
                <a:gd name="T32" fmla="*/ 43 w 303"/>
                <a:gd name="T33" fmla="*/ 154 h 285"/>
                <a:gd name="T34" fmla="*/ 43 w 303"/>
                <a:gd name="T35" fmla="*/ 154 h 285"/>
                <a:gd name="T36" fmla="*/ 139 w 303"/>
                <a:gd name="T37" fmla="*/ 128 h 285"/>
                <a:gd name="T38" fmla="*/ 88 w 303"/>
                <a:gd name="T39" fmla="*/ 270 h 285"/>
                <a:gd name="T40" fmla="*/ 95 w 303"/>
                <a:gd name="T41" fmla="*/ 284 h 285"/>
                <a:gd name="T42" fmla="*/ 98 w 303"/>
                <a:gd name="T43" fmla="*/ 285 h 285"/>
                <a:gd name="T44" fmla="*/ 108 w 303"/>
                <a:gd name="T45" fmla="*/ 278 h 285"/>
                <a:gd name="T46" fmla="*/ 141 w 303"/>
                <a:gd name="T47" fmla="*/ 186 h 285"/>
                <a:gd name="T48" fmla="*/ 141 w 303"/>
                <a:gd name="T49" fmla="*/ 274 h 285"/>
                <a:gd name="T50" fmla="*/ 152 w 303"/>
                <a:gd name="T51" fmla="*/ 285 h 285"/>
                <a:gd name="T52" fmla="*/ 162 w 303"/>
                <a:gd name="T53" fmla="*/ 274 h 285"/>
                <a:gd name="T54" fmla="*/ 162 w 303"/>
                <a:gd name="T55" fmla="*/ 186 h 285"/>
                <a:gd name="T56" fmla="*/ 195 w 303"/>
                <a:gd name="T57" fmla="*/ 278 h 285"/>
                <a:gd name="T58" fmla="*/ 205 w 303"/>
                <a:gd name="T59" fmla="*/ 285 h 285"/>
                <a:gd name="T60" fmla="*/ 209 w 303"/>
                <a:gd name="T61" fmla="*/ 284 h 285"/>
                <a:gd name="T62" fmla="*/ 215 w 303"/>
                <a:gd name="T63" fmla="*/ 270 h 285"/>
                <a:gd name="T64" fmla="*/ 164 w 303"/>
                <a:gd name="T65" fmla="*/ 128 h 285"/>
                <a:gd name="T66" fmla="*/ 240 w 303"/>
                <a:gd name="T67" fmla="*/ 107 h 285"/>
                <a:gd name="T68" fmla="*/ 240 w 303"/>
                <a:gd name="T69" fmla="*/ 107 h 285"/>
                <a:gd name="T70" fmla="*/ 250 w 303"/>
                <a:gd name="T71" fmla="*/ 115 h 285"/>
                <a:gd name="T72" fmla="*/ 253 w 303"/>
                <a:gd name="T73" fmla="*/ 115 h 285"/>
                <a:gd name="T74" fmla="*/ 294 w 303"/>
                <a:gd name="T75" fmla="*/ 104 h 285"/>
                <a:gd name="T76" fmla="*/ 301 w 303"/>
                <a:gd name="T77" fmla="*/ 99 h 285"/>
                <a:gd name="T78" fmla="*/ 302 w 303"/>
                <a:gd name="T79" fmla="*/ 91 h 285"/>
                <a:gd name="T80" fmla="*/ 40 w 303"/>
                <a:gd name="T81" fmla="*/ 103 h 285"/>
                <a:gd name="T82" fmla="*/ 132 w 303"/>
                <a:gd name="T83" fmla="*/ 78 h 285"/>
                <a:gd name="T84" fmla="*/ 140 w 303"/>
                <a:gd name="T85" fmla="*/ 105 h 285"/>
                <a:gd name="T86" fmla="*/ 47 w 303"/>
                <a:gd name="T87" fmla="*/ 131 h 285"/>
                <a:gd name="T88" fmla="*/ 40 w 303"/>
                <a:gd name="T89" fmla="*/ 103 h 285"/>
                <a:gd name="T90" fmla="*/ 162 w 303"/>
                <a:gd name="T91" fmla="*/ 106 h 285"/>
                <a:gd name="T92" fmla="*/ 151 w 303"/>
                <a:gd name="T93" fmla="*/ 65 h 285"/>
                <a:gd name="T94" fmla="*/ 223 w 303"/>
                <a:gd name="T95" fmla="*/ 46 h 285"/>
                <a:gd name="T96" fmla="*/ 229 w 303"/>
                <a:gd name="T97" fmla="*/ 66 h 285"/>
                <a:gd name="T98" fmla="*/ 234 w 303"/>
                <a:gd name="T99" fmla="*/ 87 h 285"/>
                <a:gd name="T100" fmla="*/ 162 w 303"/>
                <a:gd name="T101" fmla="*/ 106 h 285"/>
                <a:gd name="T102" fmla="*/ 258 w 303"/>
                <a:gd name="T103" fmla="*/ 91 h 285"/>
                <a:gd name="T104" fmla="*/ 241 w 303"/>
                <a:gd name="T105" fmla="*/ 30 h 285"/>
                <a:gd name="T106" fmla="*/ 262 w 303"/>
                <a:gd name="T107" fmla="*/ 24 h 285"/>
                <a:gd name="T108" fmla="*/ 278 w 303"/>
                <a:gd name="T109" fmla="*/ 86 h 285"/>
                <a:gd name="T110" fmla="*/ 258 w 303"/>
                <a:gd name="T111" fmla="*/ 9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285">
                  <a:moveTo>
                    <a:pt x="302" y="91"/>
                  </a:moveTo>
                  <a:cubicBezTo>
                    <a:pt x="279" y="8"/>
                    <a:pt x="279" y="8"/>
                    <a:pt x="279" y="8"/>
                  </a:cubicBezTo>
                  <a:cubicBezTo>
                    <a:pt x="279" y="5"/>
                    <a:pt x="277" y="3"/>
                    <a:pt x="274" y="2"/>
                  </a:cubicBezTo>
                  <a:cubicBezTo>
                    <a:pt x="272" y="0"/>
                    <a:pt x="269" y="0"/>
                    <a:pt x="266" y="1"/>
                  </a:cubicBezTo>
                  <a:cubicBezTo>
                    <a:pt x="225" y="12"/>
                    <a:pt x="225" y="12"/>
                    <a:pt x="225" y="12"/>
                  </a:cubicBezTo>
                  <a:cubicBezTo>
                    <a:pt x="219" y="14"/>
                    <a:pt x="216" y="19"/>
                    <a:pt x="218" y="25"/>
                  </a:cubicBezTo>
                  <a:cubicBezTo>
                    <a:pt x="135" y="48"/>
                    <a:pt x="135" y="48"/>
                    <a:pt x="135" y="48"/>
                  </a:cubicBezTo>
                  <a:cubicBezTo>
                    <a:pt x="131" y="49"/>
                    <a:pt x="128" y="53"/>
                    <a:pt x="128" y="57"/>
                  </a:cubicBezTo>
                  <a:cubicBezTo>
                    <a:pt x="24" y="85"/>
                    <a:pt x="24" y="85"/>
                    <a:pt x="24" y="85"/>
                  </a:cubicBezTo>
                  <a:cubicBezTo>
                    <a:pt x="22" y="78"/>
                    <a:pt x="22" y="78"/>
                    <a:pt x="22" y="78"/>
                  </a:cubicBezTo>
                  <a:cubicBezTo>
                    <a:pt x="21" y="73"/>
                    <a:pt x="15" y="69"/>
                    <a:pt x="9" y="71"/>
                  </a:cubicBezTo>
                  <a:cubicBezTo>
                    <a:pt x="3" y="73"/>
                    <a:pt x="0" y="78"/>
                    <a:pt x="2" y="84"/>
                  </a:cubicBezTo>
                  <a:cubicBezTo>
                    <a:pt x="24" y="166"/>
                    <a:pt x="24" y="166"/>
                    <a:pt x="24" y="166"/>
                  </a:cubicBezTo>
                  <a:cubicBezTo>
                    <a:pt x="25" y="171"/>
                    <a:pt x="30" y="174"/>
                    <a:pt x="34" y="174"/>
                  </a:cubicBezTo>
                  <a:cubicBezTo>
                    <a:pt x="35" y="174"/>
                    <a:pt x="36" y="174"/>
                    <a:pt x="37" y="174"/>
                  </a:cubicBezTo>
                  <a:cubicBezTo>
                    <a:pt x="43" y="172"/>
                    <a:pt x="46" y="167"/>
                    <a:pt x="45" y="161"/>
                  </a:cubicBezTo>
                  <a:cubicBezTo>
                    <a:pt x="43" y="154"/>
                    <a:pt x="43" y="154"/>
                    <a:pt x="43" y="154"/>
                  </a:cubicBezTo>
                  <a:cubicBezTo>
                    <a:pt x="43" y="154"/>
                    <a:pt x="43" y="154"/>
                    <a:pt x="43" y="154"/>
                  </a:cubicBezTo>
                  <a:cubicBezTo>
                    <a:pt x="139" y="128"/>
                    <a:pt x="139" y="128"/>
                    <a:pt x="139" y="128"/>
                  </a:cubicBezTo>
                  <a:cubicBezTo>
                    <a:pt x="88" y="270"/>
                    <a:pt x="88" y="270"/>
                    <a:pt x="88" y="270"/>
                  </a:cubicBezTo>
                  <a:cubicBezTo>
                    <a:pt x="86" y="276"/>
                    <a:pt x="89" y="282"/>
                    <a:pt x="95" y="284"/>
                  </a:cubicBezTo>
                  <a:cubicBezTo>
                    <a:pt x="96" y="284"/>
                    <a:pt x="97" y="285"/>
                    <a:pt x="98" y="285"/>
                  </a:cubicBezTo>
                  <a:cubicBezTo>
                    <a:pt x="103" y="285"/>
                    <a:pt x="107" y="282"/>
                    <a:pt x="108" y="278"/>
                  </a:cubicBezTo>
                  <a:cubicBezTo>
                    <a:pt x="141" y="186"/>
                    <a:pt x="141" y="186"/>
                    <a:pt x="141" y="186"/>
                  </a:cubicBezTo>
                  <a:cubicBezTo>
                    <a:pt x="141" y="274"/>
                    <a:pt x="141" y="274"/>
                    <a:pt x="141" y="274"/>
                  </a:cubicBezTo>
                  <a:cubicBezTo>
                    <a:pt x="141" y="280"/>
                    <a:pt x="146" y="285"/>
                    <a:pt x="152" y="285"/>
                  </a:cubicBezTo>
                  <a:cubicBezTo>
                    <a:pt x="158" y="285"/>
                    <a:pt x="162" y="280"/>
                    <a:pt x="162" y="274"/>
                  </a:cubicBezTo>
                  <a:cubicBezTo>
                    <a:pt x="162" y="186"/>
                    <a:pt x="162" y="186"/>
                    <a:pt x="162" y="186"/>
                  </a:cubicBezTo>
                  <a:cubicBezTo>
                    <a:pt x="195" y="278"/>
                    <a:pt x="195" y="278"/>
                    <a:pt x="195" y="278"/>
                  </a:cubicBezTo>
                  <a:cubicBezTo>
                    <a:pt x="197" y="282"/>
                    <a:pt x="201" y="285"/>
                    <a:pt x="205" y="285"/>
                  </a:cubicBezTo>
                  <a:cubicBezTo>
                    <a:pt x="206" y="285"/>
                    <a:pt x="207" y="284"/>
                    <a:pt x="209" y="284"/>
                  </a:cubicBezTo>
                  <a:cubicBezTo>
                    <a:pt x="214" y="282"/>
                    <a:pt x="217" y="276"/>
                    <a:pt x="215" y="270"/>
                  </a:cubicBezTo>
                  <a:cubicBezTo>
                    <a:pt x="164" y="128"/>
                    <a:pt x="164" y="128"/>
                    <a:pt x="164" y="128"/>
                  </a:cubicBezTo>
                  <a:cubicBezTo>
                    <a:pt x="240" y="107"/>
                    <a:pt x="240" y="107"/>
                    <a:pt x="240" y="107"/>
                  </a:cubicBezTo>
                  <a:cubicBezTo>
                    <a:pt x="240" y="107"/>
                    <a:pt x="240" y="107"/>
                    <a:pt x="240" y="107"/>
                  </a:cubicBezTo>
                  <a:cubicBezTo>
                    <a:pt x="241" y="112"/>
                    <a:pt x="246" y="115"/>
                    <a:pt x="250" y="115"/>
                  </a:cubicBezTo>
                  <a:cubicBezTo>
                    <a:pt x="251" y="115"/>
                    <a:pt x="252" y="115"/>
                    <a:pt x="253" y="115"/>
                  </a:cubicBezTo>
                  <a:cubicBezTo>
                    <a:pt x="294" y="104"/>
                    <a:pt x="294" y="104"/>
                    <a:pt x="294" y="104"/>
                  </a:cubicBezTo>
                  <a:cubicBezTo>
                    <a:pt x="297" y="103"/>
                    <a:pt x="299" y="101"/>
                    <a:pt x="301" y="99"/>
                  </a:cubicBezTo>
                  <a:cubicBezTo>
                    <a:pt x="302" y="96"/>
                    <a:pt x="303" y="93"/>
                    <a:pt x="302" y="91"/>
                  </a:cubicBezTo>
                  <a:close/>
                  <a:moveTo>
                    <a:pt x="40" y="103"/>
                  </a:moveTo>
                  <a:cubicBezTo>
                    <a:pt x="132" y="78"/>
                    <a:pt x="132" y="78"/>
                    <a:pt x="132" y="78"/>
                  </a:cubicBezTo>
                  <a:cubicBezTo>
                    <a:pt x="140" y="105"/>
                    <a:pt x="140" y="105"/>
                    <a:pt x="140" y="105"/>
                  </a:cubicBezTo>
                  <a:cubicBezTo>
                    <a:pt x="47" y="131"/>
                    <a:pt x="47" y="131"/>
                    <a:pt x="47" y="131"/>
                  </a:cubicBezTo>
                  <a:lnTo>
                    <a:pt x="40" y="103"/>
                  </a:lnTo>
                  <a:close/>
                  <a:moveTo>
                    <a:pt x="162" y="106"/>
                  </a:moveTo>
                  <a:cubicBezTo>
                    <a:pt x="151" y="65"/>
                    <a:pt x="151" y="65"/>
                    <a:pt x="151" y="65"/>
                  </a:cubicBezTo>
                  <a:cubicBezTo>
                    <a:pt x="223" y="46"/>
                    <a:pt x="223" y="46"/>
                    <a:pt x="223" y="46"/>
                  </a:cubicBezTo>
                  <a:cubicBezTo>
                    <a:pt x="229" y="66"/>
                    <a:pt x="229" y="66"/>
                    <a:pt x="229" y="66"/>
                  </a:cubicBezTo>
                  <a:cubicBezTo>
                    <a:pt x="234" y="87"/>
                    <a:pt x="234" y="87"/>
                    <a:pt x="234" y="87"/>
                  </a:cubicBezTo>
                  <a:lnTo>
                    <a:pt x="162" y="106"/>
                  </a:lnTo>
                  <a:close/>
                  <a:moveTo>
                    <a:pt x="258" y="91"/>
                  </a:moveTo>
                  <a:cubicBezTo>
                    <a:pt x="241" y="30"/>
                    <a:pt x="241" y="30"/>
                    <a:pt x="241" y="30"/>
                  </a:cubicBezTo>
                  <a:cubicBezTo>
                    <a:pt x="262" y="24"/>
                    <a:pt x="262" y="24"/>
                    <a:pt x="262" y="24"/>
                  </a:cubicBezTo>
                  <a:cubicBezTo>
                    <a:pt x="278" y="86"/>
                    <a:pt x="278" y="86"/>
                    <a:pt x="278" y="86"/>
                  </a:cubicBezTo>
                  <a:lnTo>
                    <a:pt x="258" y="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56" name="Group 349">
            <a:extLst>
              <a:ext uri="{FF2B5EF4-FFF2-40B4-BE49-F238E27FC236}">
                <a16:creationId xmlns:a16="http://schemas.microsoft.com/office/drawing/2014/main" id="{81928308-9448-786D-FAEE-FFFFA1F2FC99}"/>
              </a:ext>
            </a:extLst>
          </p:cNvPr>
          <p:cNvGrpSpPr>
            <a:grpSpLocks noChangeAspect="1"/>
          </p:cNvGrpSpPr>
          <p:nvPr/>
        </p:nvGrpSpPr>
        <p:grpSpPr bwMode="auto">
          <a:xfrm>
            <a:off x="562914" y="3292047"/>
            <a:ext cx="339596" cy="343331"/>
            <a:chOff x="5018" y="1229"/>
            <a:chExt cx="340" cy="340"/>
          </a:xfrm>
          <a:solidFill>
            <a:srgbClr val="86BC25"/>
          </a:solidFill>
        </p:grpSpPr>
        <p:sp>
          <p:nvSpPr>
            <p:cNvPr id="57" name="Freeform 350">
              <a:extLst>
                <a:ext uri="{FF2B5EF4-FFF2-40B4-BE49-F238E27FC236}">
                  <a16:creationId xmlns:a16="http://schemas.microsoft.com/office/drawing/2014/main" id="{C250A473-3507-6210-F389-9AAFB16149BD}"/>
                </a:ext>
              </a:extLst>
            </p:cNvPr>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sp>
          <p:nvSpPr>
            <p:cNvPr id="64" name="Freeform 351">
              <a:extLst>
                <a:ext uri="{FF2B5EF4-FFF2-40B4-BE49-F238E27FC236}">
                  <a16:creationId xmlns:a16="http://schemas.microsoft.com/office/drawing/2014/main" id="{ECB5542B-FDDD-B9A7-E712-C53F7E5061AA}"/>
                </a:ext>
              </a:extLst>
            </p:cNvPr>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66" name="Group 65">
            <a:extLst>
              <a:ext uri="{FF2B5EF4-FFF2-40B4-BE49-F238E27FC236}">
                <a16:creationId xmlns:a16="http://schemas.microsoft.com/office/drawing/2014/main" id="{A1A06A2E-F809-93C0-4673-86B3FF8F51EF}"/>
              </a:ext>
            </a:extLst>
          </p:cNvPr>
          <p:cNvGrpSpPr>
            <a:grpSpLocks noChangeAspect="1"/>
          </p:cNvGrpSpPr>
          <p:nvPr/>
        </p:nvGrpSpPr>
        <p:grpSpPr bwMode="auto">
          <a:xfrm>
            <a:off x="562915" y="3845723"/>
            <a:ext cx="339595" cy="343331"/>
            <a:chOff x="3219" y="626"/>
            <a:chExt cx="3635" cy="3635"/>
          </a:xfrm>
          <a:solidFill>
            <a:srgbClr val="43B02A"/>
          </a:solidFill>
        </p:grpSpPr>
        <p:sp>
          <p:nvSpPr>
            <p:cNvPr id="67" name="Freeform 28">
              <a:extLst>
                <a:ext uri="{FF2B5EF4-FFF2-40B4-BE49-F238E27FC236}">
                  <a16:creationId xmlns:a16="http://schemas.microsoft.com/office/drawing/2014/main" id="{75BAD22A-9874-997C-C66E-32EA5E736EF6}"/>
                </a:ext>
              </a:extLst>
            </p:cNvPr>
            <p:cNvSpPr>
              <a:spLocks noEditPoints="1"/>
            </p:cNvSpPr>
            <p:nvPr/>
          </p:nvSpPr>
          <p:spPr bwMode="auto">
            <a:xfrm>
              <a:off x="3219" y="626"/>
              <a:ext cx="3635" cy="3635"/>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sp>
          <p:nvSpPr>
            <p:cNvPr id="68" name="Freeform 29">
              <a:extLst>
                <a:ext uri="{FF2B5EF4-FFF2-40B4-BE49-F238E27FC236}">
                  <a16:creationId xmlns:a16="http://schemas.microsoft.com/office/drawing/2014/main" id="{A7215EB8-65C1-6150-A204-F56B717B24D8}"/>
                </a:ext>
              </a:extLst>
            </p:cNvPr>
            <p:cNvSpPr>
              <a:spLocks noEditPoints="1"/>
            </p:cNvSpPr>
            <p:nvPr/>
          </p:nvSpPr>
          <p:spPr bwMode="auto">
            <a:xfrm>
              <a:off x="3900" y="1378"/>
              <a:ext cx="2272" cy="2201"/>
            </a:xfrm>
            <a:custGeom>
              <a:avLst/>
              <a:gdLst>
                <a:gd name="T0" fmla="*/ 319 w 320"/>
                <a:gd name="T1" fmla="*/ 71 h 310"/>
                <a:gd name="T2" fmla="*/ 318 w 320"/>
                <a:gd name="T3" fmla="*/ 70 h 310"/>
                <a:gd name="T4" fmla="*/ 317 w 320"/>
                <a:gd name="T5" fmla="*/ 68 h 310"/>
                <a:gd name="T6" fmla="*/ 316 w 320"/>
                <a:gd name="T7" fmla="*/ 67 h 310"/>
                <a:gd name="T8" fmla="*/ 313 w 320"/>
                <a:gd name="T9" fmla="*/ 65 h 310"/>
                <a:gd name="T10" fmla="*/ 313 w 320"/>
                <a:gd name="T11" fmla="*/ 65 h 310"/>
                <a:gd name="T12" fmla="*/ 313 w 320"/>
                <a:gd name="T13" fmla="*/ 65 h 310"/>
                <a:gd name="T14" fmla="*/ 164 w 320"/>
                <a:gd name="T15" fmla="*/ 1 h 310"/>
                <a:gd name="T16" fmla="*/ 155 w 320"/>
                <a:gd name="T17" fmla="*/ 1 h 310"/>
                <a:gd name="T18" fmla="*/ 6 w 320"/>
                <a:gd name="T19" fmla="*/ 65 h 310"/>
                <a:gd name="T20" fmla="*/ 0 w 320"/>
                <a:gd name="T21" fmla="*/ 75 h 310"/>
                <a:gd name="T22" fmla="*/ 0 w 320"/>
                <a:gd name="T23" fmla="*/ 224 h 310"/>
                <a:gd name="T24" fmla="*/ 6 w 320"/>
                <a:gd name="T25" fmla="*/ 234 h 310"/>
                <a:gd name="T26" fmla="*/ 155 w 320"/>
                <a:gd name="T27" fmla="*/ 309 h 310"/>
                <a:gd name="T28" fmla="*/ 155 w 320"/>
                <a:gd name="T29" fmla="*/ 309 h 310"/>
                <a:gd name="T30" fmla="*/ 160 w 320"/>
                <a:gd name="T31" fmla="*/ 310 h 310"/>
                <a:gd name="T32" fmla="*/ 160 w 320"/>
                <a:gd name="T33" fmla="*/ 310 h 310"/>
                <a:gd name="T34" fmla="*/ 160 w 320"/>
                <a:gd name="T35" fmla="*/ 310 h 310"/>
                <a:gd name="T36" fmla="*/ 160 w 320"/>
                <a:gd name="T37" fmla="*/ 310 h 310"/>
                <a:gd name="T38" fmla="*/ 160 w 320"/>
                <a:gd name="T39" fmla="*/ 310 h 310"/>
                <a:gd name="T40" fmla="*/ 163 w 320"/>
                <a:gd name="T41" fmla="*/ 309 h 310"/>
                <a:gd name="T42" fmla="*/ 164 w 320"/>
                <a:gd name="T43" fmla="*/ 309 h 310"/>
                <a:gd name="T44" fmla="*/ 313 w 320"/>
                <a:gd name="T45" fmla="*/ 245 h 310"/>
                <a:gd name="T46" fmla="*/ 320 w 320"/>
                <a:gd name="T47" fmla="*/ 235 h 310"/>
                <a:gd name="T48" fmla="*/ 320 w 320"/>
                <a:gd name="T49" fmla="*/ 75 h 310"/>
                <a:gd name="T50" fmla="*/ 319 w 320"/>
                <a:gd name="T51" fmla="*/ 71 h 310"/>
                <a:gd name="T52" fmla="*/ 160 w 320"/>
                <a:gd name="T53" fmla="*/ 23 h 310"/>
                <a:gd name="T54" fmla="*/ 282 w 320"/>
                <a:gd name="T55" fmla="*/ 75 h 310"/>
                <a:gd name="T56" fmla="*/ 160 w 320"/>
                <a:gd name="T57" fmla="*/ 127 h 310"/>
                <a:gd name="T58" fmla="*/ 37 w 320"/>
                <a:gd name="T59" fmla="*/ 75 h 310"/>
                <a:gd name="T60" fmla="*/ 160 w 320"/>
                <a:gd name="T61" fmla="*/ 23 h 310"/>
                <a:gd name="T62" fmla="*/ 21 w 320"/>
                <a:gd name="T63" fmla="*/ 91 h 310"/>
                <a:gd name="T64" fmla="*/ 149 w 320"/>
                <a:gd name="T65" fmla="*/ 146 h 310"/>
                <a:gd name="T66" fmla="*/ 149 w 320"/>
                <a:gd name="T67" fmla="*/ 282 h 310"/>
                <a:gd name="T68" fmla="*/ 21 w 320"/>
                <a:gd name="T69" fmla="*/ 218 h 310"/>
                <a:gd name="T70" fmla="*/ 21 w 320"/>
                <a:gd name="T71" fmla="*/ 91 h 310"/>
                <a:gd name="T72" fmla="*/ 170 w 320"/>
                <a:gd name="T73" fmla="*/ 283 h 310"/>
                <a:gd name="T74" fmla="*/ 170 w 320"/>
                <a:gd name="T75" fmla="*/ 146 h 310"/>
                <a:gd name="T76" fmla="*/ 298 w 320"/>
                <a:gd name="T77" fmla="*/ 91 h 310"/>
                <a:gd name="T78" fmla="*/ 298 w 320"/>
                <a:gd name="T79" fmla="*/ 228 h 310"/>
                <a:gd name="T80" fmla="*/ 170 w 320"/>
                <a:gd name="T81" fmla="*/ 283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310">
                  <a:moveTo>
                    <a:pt x="319" y="71"/>
                  </a:moveTo>
                  <a:cubicBezTo>
                    <a:pt x="319" y="71"/>
                    <a:pt x="319" y="71"/>
                    <a:pt x="318" y="70"/>
                  </a:cubicBezTo>
                  <a:cubicBezTo>
                    <a:pt x="318" y="69"/>
                    <a:pt x="318" y="69"/>
                    <a:pt x="317" y="68"/>
                  </a:cubicBezTo>
                  <a:cubicBezTo>
                    <a:pt x="317" y="68"/>
                    <a:pt x="316" y="67"/>
                    <a:pt x="316" y="67"/>
                  </a:cubicBezTo>
                  <a:cubicBezTo>
                    <a:pt x="315" y="66"/>
                    <a:pt x="314" y="66"/>
                    <a:pt x="313" y="65"/>
                  </a:cubicBezTo>
                  <a:cubicBezTo>
                    <a:pt x="313" y="65"/>
                    <a:pt x="313" y="65"/>
                    <a:pt x="313" y="65"/>
                  </a:cubicBezTo>
                  <a:cubicBezTo>
                    <a:pt x="313" y="65"/>
                    <a:pt x="313" y="65"/>
                    <a:pt x="313" y="65"/>
                  </a:cubicBezTo>
                  <a:cubicBezTo>
                    <a:pt x="164" y="1"/>
                    <a:pt x="164" y="1"/>
                    <a:pt x="164" y="1"/>
                  </a:cubicBezTo>
                  <a:cubicBezTo>
                    <a:pt x="161" y="0"/>
                    <a:pt x="158" y="0"/>
                    <a:pt x="155" y="1"/>
                  </a:cubicBezTo>
                  <a:cubicBezTo>
                    <a:pt x="6" y="65"/>
                    <a:pt x="6" y="65"/>
                    <a:pt x="6" y="65"/>
                  </a:cubicBezTo>
                  <a:cubicBezTo>
                    <a:pt x="2" y="67"/>
                    <a:pt x="0" y="71"/>
                    <a:pt x="0" y="75"/>
                  </a:cubicBezTo>
                  <a:cubicBezTo>
                    <a:pt x="0" y="224"/>
                    <a:pt x="0" y="224"/>
                    <a:pt x="0" y="224"/>
                  </a:cubicBezTo>
                  <a:cubicBezTo>
                    <a:pt x="0" y="228"/>
                    <a:pt x="2" y="232"/>
                    <a:pt x="6" y="234"/>
                  </a:cubicBezTo>
                  <a:cubicBezTo>
                    <a:pt x="155" y="309"/>
                    <a:pt x="155" y="309"/>
                    <a:pt x="155" y="309"/>
                  </a:cubicBezTo>
                  <a:cubicBezTo>
                    <a:pt x="155" y="309"/>
                    <a:pt x="155" y="309"/>
                    <a:pt x="155" y="309"/>
                  </a:cubicBezTo>
                  <a:cubicBezTo>
                    <a:pt x="157" y="309"/>
                    <a:pt x="158" y="310"/>
                    <a:pt x="160" y="310"/>
                  </a:cubicBezTo>
                  <a:cubicBezTo>
                    <a:pt x="160" y="310"/>
                    <a:pt x="160" y="310"/>
                    <a:pt x="160" y="310"/>
                  </a:cubicBezTo>
                  <a:cubicBezTo>
                    <a:pt x="160" y="310"/>
                    <a:pt x="160" y="310"/>
                    <a:pt x="160" y="310"/>
                  </a:cubicBezTo>
                  <a:cubicBezTo>
                    <a:pt x="160" y="310"/>
                    <a:pt x="160" y="310"/>
                    <a:pt x="160" y="310"/>
                  </a:cubicBezTo>
                  <a:cubicBezTo>
                    <a:pt x="160" y="310"/>
                    <a:pt x="160" y="310"/>
                    <a:pt x="160" y="310"/>
                  </a:cubicBezTo>
                  <a:cubicBezTo>
                    <a:pt x="161" y="310"/>
                    <a:pt x="162" y="309"/>
                    <a:pt x="163" y="309"/>
                  </a:cubicBezTo>
                  <a:cubicBezTo>
                    <a:pt x="164" y="309"/>
                    <a:pt x="164" y="309"/>
                    <a:pt x="164" y="309"/>
                  </a:cubicBezTo>
                  <a:cubicBezTo>
                    <a:pt x="313" y="245"/>
                    <a:pt x="313" y="245"/>
                    <a:pt x="313" y="245"/>
                  </a:cubicBezTo>
                  <a:cubicBezTo>
                    <a:pt x="317" y="243"/>
                    <a:pt x="320" y="239"/>
                    <a:pt x="320" y="235"/>
                  </a:cubicBezTo>
                  <a:cubicBezTo>
                    <a:pt x="320" y="75"/>
                    <a:pt x="320" y="75"/>
                    <a:pt x="320" y="75"/>
                  </a:cubicBezTo>
                  <a:cubicBezTo>
                    <a:pt x="320" y="74"/>
                    <a:pt x="319" y="72"/>
                    <a:pt x="319" y="71"/>
                  </a:cubicBezTo>
                  <a:close/>
                  <a:moveTo>
                    <a:pt x="160" y="23"/>
                  </a:moveTo>
                  <a:cubicBezTo>
                    <a:pt x="282" y="75"/>
                    <a:pt x="282" y="75"/>
                    <a:pt x="282" y="75"/>
                  </a:cubicBezTo>
                  <a:cubicBezTo>
                    <a:pt x="160" y="127"/>
                    <a:pt x="160" y="127"/>
                    <a:pt x="160" y="127"/>
                  </a:cubicBezTo>
                  <a:cubicBezTo>
                    <a:pt x="37" y="75"/>
                    <a:pt x="37" y="75"/>
                    <a:pt x="37" y="75"/>
                  </a:cubicBezTo>
                  <a:lnTo>
                    <a:pt x="160" y="23"/>
                  </a:lnTo>
                  <a:close/>
                  <a:moveTo>
                    <a:pt x="21" y="91"/>
                  </a:moveTo>
                  <a:cubicBezTo>
                    <a:pt x="149" y="146"/>
                    <a:pt x="149" y="146"/>
                    <a:pt x="149" y="146"/>
                  </a:cubicBezTo>
                  <a:cubicBezTo>
                    <a:pt x="149" y="282"/>
                    <a:pt x="149" y="282"/>
                    <a:pt x="149" y="282"/>
                  </a:cubicBezTo>
                  <a:cubicBezTo>
                    <a:pt x="21" y="218"/>
                    <a:pt x="21" y="218"/>
                    <a:pt x="21" y="218"/>
                  </a:cubicBezTo>
                  <a:lnTo>
                    <a:pt x="21" y="91"/>
                  </a:lnTo>
                  <a:close/>
                  <a:moveTo>
                    <a:pt x="170" y="283"/>
                  </a:moveTo>
                  <a:cubicBezTo>
                    <a:pt x="170" y="146"/>
                    <a:pt x="170" y="146"/>
                    <a:pt x="170" y="146"/>
                  </a:cubicBezTo>
                  <a:cubicBezTo>
                    <a:pt x="298" y="91"/>
                    <a:pt x="298" y="91"/>
                    <a:pt x="298" y="91"/>
                  </a:cubicBezTo>
                  <a:cubicBezTo>
                    <a:pt x="298" y="228"/>
                    <a:pt x="298" y="228"/>
                    <a:pt x="298" y="228"/>
                  </a:cubicBezTo>
                  <a:lnTo>
                    <a:pt x="170" y="28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69" name="Group 844">
            <a:extLst>
              <a:ext uri="{FF2B5EF4-FFF2-40B4-BE49-F238E27FC236}">
                <a16:creationId xmlns:a16="http://schemas.microsoft.com/office/drawing/2014/main" id="{2F8A868F-383E-264F-4B8B-A8BB69099528}"/>
              </a:ext>
            </a:extLst>
          </p:cNvPr>
          <p:cNvGrpSpPr>
            <a:grpSpLocks noChangeAspect="1"/>
          </p:cNvGrpSpPr>
          <p:nvPr/>
        </p:nvGrpSpPr>
        <p:grpSpPr bwMode="auto">
          <a:xfrm>
            <a:off x="567773" y="4340873"/>
            <a:ext cx="339595" cy="343331"/>
            <a:chOff x="4301" y="3046"/>
            <a:chExt cx="340" cy="340"/>
          </a:xfrm>
          <a:solidFill>
            <a:srgbClr val="009A44"/>
          </a:solidFill>
        </p:grpSpPr>
        <p:sp>
          <p:nvSpPr>
            <p:cNvPr id="70" name="Freeform 845">
              <a:extLst>
                <a:ext uri="{FF2B5EF4-FFF2-40B4-BE49-F238E27FC236}">
                  <a16:creationId xmlns:a16="http://schemas.microsoft.com/office/drawing/2014/main" id="{8EC13911-53E5-926A-C31A-7D9F8D8D3307}"/>
                </a:ext>
              </a:extLst>
            </p:cNvPr>
            <p:cNvSpPr>
              <a:spLocks noEditPoints="1"/>
            </p:cNvSpPr>
            <p:nvPr/>
          </p:nvSpPr>
          <p:spPr bwMode="auto">
            <a:xfrm>
              <a:off x="4371" y="3166"/>
              <a:ext cx="57" cy="142"/>
            </a:xfrm>
            <a:custGeom>
              <a:avLst/>
              <a:gdLst>
                <a:gd name="T0" fmla="*/ 54 w 86"/>
                <a:gd name="T1" fmla="*/ 0 h 213"/>
                <a:gd name="T2" fmla="*/ 32 w 86"/>
                <a:gd name="T3" fmla="*/ 0 h 213"/>
                <a:gd name="T4" fmla="*/ 22 w 86"/>
                <a:gd name="T5" fmla="*/ 9 h 213"/>
                <a:gd name="T6" fmla="*/ 1 w 86"/>
                <a:gd name="T7" fmla="*/ 115 h 213"/>
                <a:gd name="T8" fmla="*/ 3 w 86"/>
                <a:gd name="T9" fmla="*/ 124 h 213"/>
                <a:gd name="T10" fmla="*/ 11 w 86"/>
                <a:gd name="T11" fmla="*/ 128 h 213"/>
                <a:gd name="T12" fmla="*/ 11 w 86"/>
                <a:gd name="T13" fmla="*/ 203 h 213"/>
                <a:gd name="T14" fmla="*/ 22 w 86"/>
                <a:gd name="T15" fmla="*/ 213 h 213"/>
                <a:gd name="T16" fmla="*/ 32 w 86"/>
                <a:gd name="T17" fmla="*/ 203 h 213"/>
                <a:gd name="T18" fmla="*/ 32 w 86"/>
                <a:gd name="T19" fmla="*/ 128 h 213"/>
                <a:gd name="T20" fmla="*/ 54 w 86"/>
                <a:gd name="T21" fmla="*/ 128 h 213"/>
                <a:gd name="T22" fmla="*/ 54 w 86"/>
                <a:gd name="T23" fmla="*/ 203 h 213"/>
                <a:gd name="T24" fmla="*/ 64 w 86"/>
                <a:gd name="T25" fmla="*/ 213 h 213"/>
                <a:gd name="T26" fmla="*/ 75 w 86"/>
                <a:gd name="T27" fmla="*/ 203 h 213"/>
                <a:gd name="T28" fmla="*/ 75 w 86"/>
                <a:gd name="T29" fmla="*/ 128 h 213"/>
                <a:gd name="T30" fmla="*/ 83 w 86"/>
                <a:gd name="T31" fmla="*/ 124 h 213"/>
                <a:gd name="T32" fmla="*/ 85 w 86"/>
                <a:gd name="T33" fmla="*/ 115 h 213"/>
                <a:gd name="T34" fmla="*/ 64 w 86"/>
                <a:gd name="T35" fmla="*/ 9 h 213"/>
                <a:gd name="T36" fmla="*/ 54 w 86"/>
                <a:gd name="T37" fmla="*/ 0 h 213"/>
                <a:gd name="T38" fmla="*/ 41 w 86"/>
                <a:gd name="T39" fmla="*/ 21 h 213"/>
                <a:gd name="T40" fmla="*/ 45 w 86"/>
                <a:gd name="T41" fmla="*/ 21 h 213"/>
                <a:gd name="T42" fmla="*/ 62 w 86"/>
                <a:gd name="T43" fmla="*/ 107 h 213"/>
                <a:gd name="T44" fmla="*/ 24 w 86"/>
                <a:gd name="T45" fmla="*/ 107 h 213"/>
                <a:gd name="T46" fmla="*/ 41 w 86"/>
                <a:gd name="T47"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213">
                  <a:moveTo>
                    <a:pt x="54" y="0"/>
                  </a:moveTo>
                  <a:cubicBezTo>
                    <a:pt x="32" y="0"/>
                    <a:pt x="32" y="0"/>
                    <a:pt x="32" y="0"/>
                  </a:cubicBezTo>
                  <a:cubicBezTo>
                    <a:pt x="27" y="0"/>
                    <a:pt x="23" y="4"/>
                    <a:pt x="22" y="9"/>
                  </a:cubicBezTo>
                  <a:cubicBezTo>
                    <a:pt x="1" y="115"/>
                    <a:pt x="1" y="115"/>
                    <a:pt x="1" y="115"/>
                  </a:cubicBezTo>
                  <a:cubicBezTo>
                    <a:pt x="0" y="118"/>
                    <a:pt x="1" y="122"/>
                    <a:pt x="3" y="124"/>
                  </a:cubicBezTo>
                  <a:cubicBezTo>
                    <a:pt x="5" y="127"/>
                    <a:pt x="8" y="128"/>
                    <a:pt x="11" y="128"/>
                  </a:cubicBezTo>
                  <a:cubicBezTo>
                    <a:pt x="11" y="203"/>
                    <a:pt x="11" y="203"/>
                    <a:pt x="11" y="203"/>
                  </a:cubicBezTo>
                  <a:cubicBezTo>
                    <a:pt x="11" y="209"/>
                    <a:pt x="16" y="213"/>
                    <a:pt x="22" y="213"/>
                  </a:cubicBezTo>
                  <a:cubicBezTo>
                    <a:pt x="28" y="213"/>
                    <a:pt x="32" y="209"/>
                    <a:pt x="32" y="203"/>
                  </a:cubicBezTo>
                  <a:cubicBezTo>
                    <a:pt x="32" y="128"/>
                    <a:pt x="32" y="128"/>
                    <a:pt x="32" y="128"/>
                  </a:cubicBezTo>
                  <a:cubicBezTo>
                    <a:pt x="54" y="128"/>
                    <a:pt x="54" y="128"/>
                    <a:pt x="54" y="128"/>
                  </a:cubicBezTo>
                  <a:cubicBezTo>
                    <a:pt x="54" y="203"/>
                    <a:pt x="54" y="203"/>
                    <a:pt x="54" y="203"/>
                  </a:cubicBezTo>
                  <a:cubicBezTo>
                    <a:pt x="54" y="209"/>
                    <a:pt x="58" y="213"/>
                    <a:pt x="64" y="213"/>
                  </a:cubicBezTo>
                  <a:cubicBezTo>
                    <a:pt x="70" y="213"/>
                    <a:pt x="75" y="209"/>
                    <a:pt x="75" y="203"/>
                  </a:cubicBezTo>
                  <a:cubicBezTo>
                    <a:pt x="75" y="128"/>
                    <a:pt x="75" y="128"/>
                    <a:pt x="75" y="128"/>
                  </a:cubicBezTo>
                  <a:cubicBezTo>
                    <a:pt x="78" y="128"/>
                    <a:pt x="81" y="127"/>
                    <a:pt x="83" y="124"/>
                  </a:cubicBezTo>
                  <a:cubicBezTo>
                    <a:pt x="85" y="122"/>
                    <a:pt x="86" y="118"/>
                    <a:pt x="85" y="115"/>
                  </a:cubicBezTo>
                  <a:cubicBezTo>
                    <a:pt x="64" y="9"/>
                    <a:pt x="64" y="9"/>
                    <a:pt x="64" y="9"/>
                  </a:cubicBezTo>
                  <a:cubicBezTo>
                    <a:pt x="63" y="4"/>
                    <a:pt x="59" y="0"/>
                    <a:pt x="54" y="0"/>
                  </a:cubicBezTo>
                  <a:close/>
                  <a:moveTo>
                    <a:pt x="41" y="21"/>
                  </a:moveTo>
                  <a:cubicBezTo>
                    <a:pt x="45" y="21"/>
                    <a:pt x="45" y="21"/>
                    <a:pt x="45" y="21"/>
                  </a:cubicBezTo>
                  <a:cubicBezTo>
                    <a:pt x="62" y="107"/>
                    <a:pt x="62" y="107"/>
                    <a:pt x="62" y="107"/>
                  </a:cubicBezTo>
                  <a:cubicBezTo>
                    <a:pt x="24" y="107"/>
                    <a:pt x="24" y="107"/>
                    <a:pt x="24" y="107"/>
                  </a:cubicBezTo>
                  <a:lnTo>
                    <a:pt x="4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sp>
          <p:nvSpPr>
            <p:cNvPr id="71" name="Freeform 846">
              <a:extLst>
                <a:ext uri="{FF2B5EF4-FFF2-40B4-BE49-F238E27FC236}">
                  <a16:creationId xmlns:a16="http://schemas.microsoft.com/office/drawing/2014/main" id="{F118CD0C-5C0D-F209-C1AD-AE10BEF7DE4C}"/>
                </a:ext>
              </a:extLst>
            </p:cNvPr>
            <p:cNvSpPr>
              <a:spLocks noEditPoints="1"/>
            </p:cNvSpPr>
            <p:nvPr/>
          </p:nvSpPr>
          <p:spPr bwMode="auto">
            <a:xfrm>
              <a:off x="4379"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4" y="0"/>
                    <a:pt x="0" y="14"/>
                    <a:pt x="0" y="32"/>
                  </a:cubicBezTo>
                  <a:cubicBezTo>
                    <a:pt x="0" y="49"/>
                    <a:pt x="14" y="64"/>
                    <a:pt x="32" y="64"/>
                  </a:cubicBezTo>
                  <a:close/>
                  <a:moveTo>
                    <a:pt x="32" y="21"/>
                  </a:moveTo>
                  <a:cubicBezTo>
                    <a:pt x="38" y="21"/>
                    <a:pt x="43" y="26"/>
                    <a:pt x="43" y="32"/>
                  </a:cubicBezTo>
                  <a:cubicBezTo>
                    <a:pt x="43"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sp>
          <p:nvSpPr>
            <p:cNvPr id="72" name="Freeform 847">
              <a:extLst>
                <a:ext uri="{FF2B5EF4-FFF2-40B4-BE49-F238E27FC236}">
                  <a16:creationId xmlns:a16="http://schemas.microsoft.com/office/drawing/2014/main" id="{FC6B2224-8B5D-04B1-8564-D1E95DD2AD46}"/>
                </a:ext>
              </a:extLst>
            </p:cNvPr>
            <p:cNvSpPr>
              <a:spLocks noEditPoints="1"/>
            </p:cNvSpPr>
            <p:nvPr/>
          </p:nvSpPr>
          <p:spPr bwMode="auto">
            <a:xfrm>
              <a:off x="4513" y="3166"/>
              <a:ext cx="57" cy="142"/>
            </a:xfrm>
            <a:custGeom>
              <a:avLst/>
              <a:gdLst>
                <a:gd name="T0" fmla="*/ 74 w 85"/>
                <a:gd name="T1" fmla="*/ 0 h 213"/>
                <a:gd name="T2" fmla="*/ 10 w 85"/>
                <a:gd name="T3" fmla="*/ 0 h 213"/>
                <a:gd name="T4" fmla="*/ 0 w 85"/>
                <a:gd name="T5" fmla="*/ 11 h 213"/>
                <a:gd name="T6" fmla="*/ 0 w 85"/>
                <a:gd name="T7" fmla="*/ 96 h 213"/>
                <a:gd name="T8" fmla="*/ 10 w 85"/>
                <a:gd name="T9" fmla="*/ 107 h 213"/>
                <a:gd name="T10" fmla="*/ 10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4 w 85"/>
                <a:gd name="T25" fmla="*/ 203 h 213"/>
                <a:gd name="T26" fmla="*/ 74 w 85"/>
                <a:gd name="T27" fmla="*/ 107 h 213"/>
                <a:gd name="T28" fmla="*/ 85 w 85"/>
                <a:gd name="T29" fmla="*/ 96 h 213"/>
                <a:gd name="T30" fmla="*/ 85 w 85"/>
                <a:gd name="T31" fmla="*/ 11 h 213"/>
                <a:gd name="T32" fmla="*/ 74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4" y="0"/>
                  </a:moveTo>
                  <a:cubicBezTo>
                    <a:pt x="10" y="0"/>
                    <a:pt x="10" y="0"/>
                    <a:pt x="10" y="0"/>
                  </a:cubicBezTo>
                  <a:cubicBezTo>
                    <a:pt x="4" y="0"/>
                    <a:pt x="0" y="5"/>
                    <a:pt x="0" y="11"/>
                  </a:cubicBezTo>
                  <a:cubicBezTo>
                    <a:pt x="0" y="96"/>
                    <a:pt x="0" y="96"/>
                    <a:pt x="0" y="96"/>
                  </a:cubicBezTo>
                  <a:cubicBezTo>
                    <a:pt x="0" y="102"/>
                    <a:pt x="4" y="107"/>
                    <a:pt x="10" y="107"/>
                  </a:cubicBezTo>
                  <a:cubicBezTo>
                    <a:pt x="10" y="203"/>
                    <a:pt x="10" y="203"/>
                    <a:pt x="10" y="203"/>
                  </a:cubicBezTo>
                  <a:cubicBezTo>
                    <a:pt x="10"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4" y="209"/>
                    <a:pt x="74" y="203"/>
                  </a:cubicBezTo>
                  <a:cubicBezTo>
                    <a:pt x="74" y="107"/>
                    <a:pt x="74" y="107"/>
                    <a:pt x="74" y="107"/>
                  </a:cubicBezTo>
                  <a:cubicBezTo>
                    <a:pt x="80" y="107"/>
                    <a:pt x="85" y="102"/>
                    <a:pt x="85" y="96"/>
                  </a:cubicBezTo>
                  <a:cubicBezTo>
                    <a:pt x="85" y="11"/>
                    <a:pt x="85" y="11"/>
                    <a:pt x="85" y="11"/>
                  </a:cubicBezTo>
                  <a:cubicBezTo>
                    <a:pt x="85" y="5"/>
                    <a:pt x="80" y="0"/>
                    <a:pt x="74"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sp>
          <p:nvSpPr>
            <p:cNvPr id="73" name="Freeform 848">
              <a:extLst>
                <a:ext uri="{FF2B5EF4-FFF2-40B4-BE49-F238E27FC236}">
                  <a16:creationId xmlns:a16="http://schemas.microsoft.com/office/drawing/2014/main" id="{5F00AA75-B347-EBDF-B1C1-EC741E150B01}"/>
                </a:ext>
              </a:extLst>
            </p:cNvPr>
            <p:cNvSpPr>
              <a:spLocks noEditPoints="1"/>
            </p:cNvSpPr>
            <p:nvPr/>
          </p:nvSpPr>
          <p:spPr bwMode="auto">
            <a:xfrm>
              <a:off x="4520" y="3110"/>
              <a:ext cx="43"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3 w 64"/>
                <a:gd name="T13" fmla="*/ 32 h 64"/>
                <a:gd name="T14" fmla="*/ 32 w 64"/>
                <a:gd name="T15" fmla="*/ 42 h 64"/>
                <a:gd name="T16" fmla="*/ 2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50" y="64"/>
                    <a:pt x="64" y="49"/>
                    <a:pt x="64" y="32"/>
                  </a:cubicBezTo>
                  <a:cubicBezTo>
                    <a:pt x="64" y="14"/>
                    <a:pt x="50" y="0"/>
                    <a:pt x="32" y="0"/>
                  </a:cubicBezTo>
                  <a:cubicBezTo>
                    <a:pt x="15" y="0"/>
                    <a:pt x="0" y="14"/>
                    <a:pt x="0" y="32"/>
                  </a:cubicBezTo>
                  <a:cubicBezTo>
                    <a:pt x="0" y="49"/>
                    <a:pt x="15" y="64"/>
                    <a:pt x="32" y="64"/>
                  </a:cubicBezTo>
                  <a:close/>
                  <a:moveTo>
                    <a:pt x="32" y="21"/>
                  </a:moveTo>
                  <a:cubicBezTo>
                    <a:pt x="38" y="21"/>
                    <a:pt x="43" y="26"/>
                    <a:pt x="43" y="32"/>
                  </a:cubicBezTo>
                  <a:cubicBezTo>
                    <a:pt x="43" y="38"/>
                    <a:pt x="38" y="42"/>
                    <a:pt x="32" y="42"/>
                  </a:cubicBezTo>
                  <a:cubicBezTo>
                    <a:pt x="26" y="42"/>
                    <a:pt x="22" y="38"/>
                    <a:pt x="22" y="32"/>
                  </a:cubicBezTo>
                  <a:cubicBezTo>
                    <a:pt x="22"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sp>
          <p:nvSpPr>
            <p:cNvPr id="74" name="Freeform 849">
              <a:extLst>
                <a:ext uri="{FF2B5EF4-FFF2-40B4-BE49-F238E27FC236}">
                  <a16:creationId xmlns:a16="http://schemas.microsoft.com/office/drawing/2014/main" id="{66A80EC3-0838-43A3-1041-A0DFAD293985}"/>
                </a:ext>
              </a:extLst>
            </p:cNvPr>
            <p:cNvSpPr>
              <a:spLocks noEditPoints="1"/>
            </p:cNvSpPr>
            <p:nvPr/>
          </p:nvSpPr>
          <p:spPr bwMode="auto">
            <a:xfrm>
              <a:off x="4442" y="3166"/>
              <a:ext cx="57" cy="142"/>
            </a:xfrm>
            <a:custGeom>
              <a:avLst/>
              <a:gdLst>
                <a:gd name="T0" fmla="*/ 75 w 85"/>
                <a:gd name="T1" fmla="*/ 0 h 213"/>
                <a:gd name="T2" fmla="*/ 11 w 85"/>
                <a:gd name="T3" fmla="*/ 0 h 213"/>
                <a:gd name="T4" fmla="*/ 0 w 85"/>
                <a:gd name="T5" fmla="*/ 11 h 213"/>
                <a:gd name="T6" fmla="*/ 0 w 85"/>
                <a:gd name="T7" fmla="*/ 96 h 213"/>
                <a:gd name="T8" fmla="*/ 11 w 85"/>
                <a:gd name="T9" fmla="*/ 107 h 213"/>
                <a:gd name="T10" fmla="*/ 11 w 85"/>
                <a:gd name="T11" fmla="*/ 203 h 213"/>
                <a:gd name="T12" fmla="*/ 21 w 85"/>
                <a:gd name="T13" fmla="*/ 213 h 213"/>
                <a:gd name="T14" fmla="*/ 32 w 85"/>
                <a:gd name="T15" fmla="*/ 203 h 213"/>
                <a:gd name="T16" fmla="*/ 32 w 85"/>
                <a:gd name="T17" fmla="*/ 107 h 213"/>
                <a:gd name="T18" fmla="*/ 53 w 85"/>
                <a:gd name="T19" fmla="*/ 107 h 213"/>
                <a:gd name="T20" fmla="*/ 53 w 85"/>
                <a:gd name="T21" fmla="*/ 203 h 213"/>
                <a:gd name="T22" fmla="*/ 64 w 85"/>
                <a:gd name="T23" fmla="*/ 213 h 213"/>
                <a:gd name="T24" fmla="*/ 75 w 85"/>
                <a:gd name="T25" fmla="*/ 203 h 213"/>
                <a:gd name="T26" fmla="*/ 75 w 85"/>
                <a:gd name="T27" fmla="*/ 107 h 213"/>
                <a:gd name="T28" fmla="*/ 85 w 85"/>
                <a:gd name="T29" fmla="*/ 96 h 213"/>
                <a:gd name="T30" fmla="*/ 85 w 85"/>
                <a:gd name="T31" fmla="*/ 11 h 213"/>
                <a:gd name="T32" fmla="*/ 75 w 85"/>
                <a:gd name="T33" fmla="*/ 0 h 213"/>
                <a:gd name="T34" fmla="*/ 21 w 85"/>
                <a:gd name="T35" fmla="*/ 21 h 213"/>
                <a:gd name="T36" fmla="*/ 64 w 85"/>
                <a:gd name="T37" fmla="*/ 21 h 213"/>
                <a:gd name="T38" fmla="*/ 64 w 85"/>
                <a:gd name="T39" fmla="*/ 85 h 213"/>
                <a:gd name="T40" fmla="*/ 21 w 85"/>
                <a:gd name="T41" fmla="*/ 85 h 213"/>
                <a:gd name="T42" fmla="*/ 21 w 85"/>
                <a:gd name="T43" fmla="*/ 2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213">
                  <a:moveTo>
                    <a:pt x="75" y="0"/>
                  </a:moveTo>
                  <a:cubicBezTo>
                    <a:pt x="11" y="0"/>
                    <a:pt x="11" y="0"/>
                    <a:pt x="11" y="0"/>
                  </a:cubicBezTo>
                  <a:cubicBezTo>
                    <a:pt x="5" y="0"/>
                    <a:pt x="0" y="5"/>
                    <a:pt x="0" y="11"/>
                  </a:cubicBezTo>
                  <a:cubicBezTo>
                    <a:pt x="0" y="96"/>
                    <a:pt x="0" y="96"/>
                    <a:pt x="0" y="96"/>
                  </a:cubicBezTo>
                  <a:cubicBezTo>
                    <a:pt x="0" y="102"/>
                    <a:pt x="5" y="107"/>
                    <a:pt x="11" y="107"/>
                  </a:cubicBezTo>
                  <a:cubicBezTo>
                    <a:pt x="11" y="203"/>
                    <a:pt x="11" y="203"/>
                    <a:pt x="11" y="203"/>
                  </a:cubicBezTo>
                  <a:cubicBezTo>
                    <a:pt x="11" y="209"/>
                    <a:pt x="15" y="213"/>
                    <a:pt x="21" y="213"/>
                  </a:cubicBezTo>
                  <a:cubicBezTo>
                    <a:pt x="27" y="213"/>
                    <a:pt x="32" y="209"/>
                    <a:pt x="32" y="203"/>
                  </a:cubicBezTo>
                  <a:cubicBezTo>
                    <a:pt x="32" y="107"/>
                    <a:pt x="32" y="107"/>
                    <a:pt x="32" y="107"/>
                  </a:cubicBezTo>
                  <a:cubicBezTo>
                    <a:pt x="53" y="107"/>
                    <a:pt x="53" y="107"/>
                    <a:pt x="53" y="107"/>
                  </a:cubicBezTo>
                  <a:cubicBezTo>
                    <a:pt x="53" y="203"/>
                    <a:pt x="53" y="203"/>
                    <a:pt x="53" y="203"/>
                  </a:cubicBezTo>
                  <a:cubicBezTo>
                    <a:pt x="53" y="209"/>
                    <a:pt x="58" y="213"/>
                    <a:pt x="64" y="213"/>
                  </a:cubicBezTo>
                  <a:cubicBezTo>
                    <a:pt x="70" y="213"/>
                    <a:pt x="75" y="209"/>
                    <a:pt x="75" y="203"/>
                  </a:cubicBezTo>
                  <a:cubicBezTo>
                    <a:pt x="75" y="107"/>
                    <a:pt x="75" y="107"/>
                    <a:pt x="75" y="107"/>
                  </a:cubicBezTo>
                  <a:cubicBezTo>
                    <a:pt x="81" y="107"/>
                    <a:pt x="85" y="102"/>
                    <a:pt x="85" y="96"/>
                  </a:cubicBezTo>
                  <a:cubicBezTo>
                    <a:pt x="85" y="11"/>
                    <a:pt x="85" y="11"/>
                    <a:pt x="85" y="11"/>
                  </a:cubicBezTo>
                  <a:cubicBezTo>
                    <a:pt x="85" y="5"/>
                    <a:pt x="81" y="0"/>
                    <a:pt x="75" y="0"/>
                  </a:cubicBezTo>
                  <a:close/>
                  <a:moveTo>
                    <a:pt x="21" y="21"/>
                  </a:moveTo>
                  <a:cubicBezTo>
                    <a:pt x="64" y="21"/>
                    <a:pt x="64" y="21"/>
                    <a:pt x="64" y="21"/>
                  </a:cubicBezTo>
                  <a:cubicBezTo>
                    <a:pt x="64" y="85"/>
                    <a:pt x="64" y="85"/>
                    <a:pt x="64" y="85"/>
                  </a:cubicBezTo>
                  <a:cubicBezTo>
                    <a:pt x="21" y="85"/>
                    <a:pt x="21" y="85"/>
                    <a:pt x="21" y="85"/>
                  </a:cubicBezTo>
                  <a:lnTo>
                    <a:pt x="21" y="2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sp>
          <p:nvSpPr>
            <p:cNvPr id="75" name="Freeform 850">
              <a:extLst>
                <a:ext uri="{FF2B5EF4-FFF2-40B4-BE49-F238E27FC236}">
                  <a16:creationId xmlns:a16="http://schemas.microsoft.com/office/drawing/2014/main" id="{08E56E8B-8392-1DDC-15DE-2237E20A8282}"/>
                </a:ext>
              </a:extLst>
            </p:cNvPr>
            <p:cNvSpPr>
              <a:spLocks noEditPoints="1"/>
            </p:cNvSpPr>
            <p:nvPr/>
          </p:nvSpPr>
          <p:spPr bwMode="auto">
            <a:xfrm>
              <a:off x="4450" y="3110"/>
              <a:ext cx="42" cy="42"/>
            </a:xfrm>
            <a:custGeom>
              <a:avLst/>
              <a:gdLst>
                <a:gd name="T0" fmla="*/ 32 w 64"/>
                <a:gd name="T1" fmla="*/ 64 h 64"/>
                <a:gd name="T2" fmla="*/ 64 w 64"/>
                <a:gd name="T3" fmla="*/ 32 h 64"/>
                <a:gd name="T4" fmla="*/ 32 w 64"/>
                <a:gd name="T5" fmla="*/ 0 h 64"/>
                <a:gd name="T6" fmla="*/ 0 w 64"/>
                <a:gd name="T7" fmla="*/ 32 h 64"/>
                <a:gd name="T8" fmla="*/ 32 w 64"/>
                <a:gd name="T9" fmla="*/ 64 h 64"/>
                <a:gd name="T10" fmla="*/ 32 w 64"/>
                <a:gd name="T11" fmla="*/ 21 h 64"/>
                <a:gd name="T12" fmla="*/ 42 w 64"/>
                <a:gd name="T13" fmla="*/ 32 h 64"/>
                <a:gd name="T14" fmla="*/ 32 w 64"/>
                <a:gd name="T15" fmla="*/ 42 h 64"/>
                <a:gd name="T16" fmla="*/ 21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49" y="64"/>
                    <a:pt x="64" y="49"/>
                    <a:pt x="64" y="32"/>
                  </a:cubicBezTo>
                  <a:cubicBezTo>
                    <a:pt x="64" y="14"/>
                    <a:pt x="49" y="0"/>
                    <a:pt x="32" y="0"/>
                  </a:cubicBezTo>
                  <a:cubicBezTo>
                    <a:pt x="14" y="0"/>
                    <a:pt x="0" y="14"/>
                    <a:pt x="0" y="32"/>
                  </a:cubicBezTo>
                  <a:cubicBezTo>
                    <a:pt x="0" y="49"/>
                    <a:pt x="14" y="64"/>
                    <a:pt x="32" y="64"/>
                  </a:cubicBezTo>
                  <a:close/>
                  <a:moveTo>
                    <a:pt x="32" y="21"/>
                  </a:moveTo>
                  <a:cubicBezTo>
                    <a:pt x="38" y="21"/>
                    <a:pt x="42" y="26"/>
                    <a:pt x="42" y="32"/>
                  </a:cubicBezTo>
                  <a:cubicBezTo>
                    <a:pt x="42" y="38"/>
                    <a:pt x="38" y="42"/>
                    <a:pt x="32" y="42"/>
                  </a:cubicBezTo>
                  <a:cubicBezTo>
                    <a:pt x="26" y="42"/>
                    <a:pt x="21" y="38"/>
                    <a:pt x="21" y="32"/>
                  </a:cubicBezTo>
                  <a:cubicBezTo>
                    <a:pt x="21" y="26"/>
                    <a:pt x="26" y="21"/>
                    <a:pt x="32" y="2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sp>
          <p:nvSpPr>
            <p:cNvPr id="76" name="Freeform 851">
              <a:extLst>
                <a:ext uri="{FF2B5EF4-FFF2-40B4-BE49-F238E27FC236}">
                  <a16:creationId xmlns:a16="http://schemas.microsoft.com/office/drawing/2014/main" id="{E3842340-CFA3-606F-83A2-73ADEA5CB4A2}"/>
                </a:ext>
              </a:extLst>
            </p:cNvPr>
            <p:cNvSpPr>
              <a:spLocks noEditPoints="1"/>
            </p:cNvSpPr>
            <p:nvPr/>
          </p:nvSpPr>
          <p:spPr bwMode="auto">
            <a:xfrm>
              <a:off x="4301" y="304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90 h 512"/>
                <a:gd name="T12" fmla="*/ 21 w 512"/>
                <a:gd name="T13" fmla="*/ 256 h 512"/>
                <a:gd name="T14" fmla="*/ 256 w 512"/>
                <a:gd name="T15" fmla="*/ 21 h 512"/>
                <a:gd name="T16" fmla="*/ 490 w 512"/>
                <a:gd name="T17" fmla="*/ 256 h 512"/>
                <a:gd name="T18" fmla="*/ 256 w 512"/>
                <a:gd name="T19" fmla="*/ 49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90"/>
                  </a:moveTo>
                  <a:cubicBezTo>
                    <a:pt x="126" y="490"/>
                    <a:pt x="21" y="385"/>
                    <a:pt x="21" y="256"/>
                  </a:cubicBezTo>
                  <a:cubicBezTo>
                    <a:pt x="21" y="126"/>
                    <a:pt x="126" y="21"/>
                    <a:pt x="256" y="21"/>
                  </a:cubicBezTo>
                  <a:cubicBezTo>
                    <a:pt x="385" y="21"/>
                    <a:pt x="490" y="126"/>
                    <a:pt x="490" y="256"/>
                  </a:cubicBezTo>
                  <a:cubicBezTo>
                    <a:pt x="490" y="385"/>
                    <a:pt x="385" y="490"/>
                    <a:pt x="256" y="49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grpSp>
      <p:grpSp>
        <p:nvGrpSpPr>
          <p:cNvPr id="77" name="Group 398">
            <a:extLst>
              <a:ext uri="{FF2B5EF4-FFF2-40B4-BE49-F238E27FC236}">
                <a16:creationId xmlns:a16="http://schemas.microsoft.com/office/drawing/2014/main" id="{5529B3EA-5F11-346F-B717-C45F208D25C7}"/>
              </a:ext>
            </a:extLst>
          </p:cNvPr>
          <p:cNvGrpSpPr>
            <a:grpSpLocks noChangeAspect="1"/>
          </p:cNvGrpSpPr>
          <p:nvPr/>
        </p:nvGrpSpPr>
        <p:grpSpPr bwMode="auto">
          <a:xfrm>
            <a:off x="562915" y="5501675"/>
            <a:ext cx="339595" cy="343331"/>
            <a:chOff x="1172" y="1575"/>
            <a:chExt cx="340" cy="340"/>
          </a:xfrm>
          <a:solidFill>
            <a:srgbClr val="0097A9"/>
          </a:solidFill>
        </p:grpSpPr>
        <p:sp>
          <p:nvSpPr>
            <p:cNvPr id="78" name="Freeform 399">
              <a:extLst>
                <a:ext uri="{FF2B5EF4-FFF2-40B4-BE49-F238E27FC236}">
                  <a16:creationId xmlns:a16="http://schemas.microsoft.com/office/drawing/2014/main" id="{EBF3108B-99C6-EC0C-3712-14B9D812F778}"/>
                </a:ext>
              </a:extLst>
            </p:cNvPr>
            <p:cNvSpPr>
              <a:spLocks noEditPoints="1"/>
            </p:cNvSpPr>
            <p:nvPr/>
          </p:nvSpPr>
          <p:spPr bwMode="auto">
            <a:xfrm>
              <a:off x="1172" y="157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sp>
          <p:nvSpPr>
            <p:cNvPr id="79" name="Freeform 400">
              <a:extLst>
                <a:ext uri="{FF2B5EF4-FFF2-40B4-BE49-F238E27FC236}">
                  <a16:creationId xmlns:a16="http://schemas.microsoft.com/office/drawing/2014/main" id="{85A194C5-B296-1E04-1A27-33054618A829}"/>
                </a:ext>
              </a:extLst>
            </p:cNvPr>
            <p:cNvSpPr>
              <a:spLocks noEditPoints="1"/>
            </p:cNvSpPr>
            <p:nvPr/>
          </p:nvSpPr>
          <p:spPr bwMode="auto">
            <a:xfrm>
              <a:off x="1250" y="1653"/>
              <a:ext cx="184" cy="184"/>
            </a:xfrm>
            <a:custGeom>
              <a:avLst/>
              <a:gdLst>
                <a:gd name="T0" fmla="*/ 22 w 277"/>
                <a:gd name="T1" fmla="*/ 53 h 277"/>
                <a:gd name="T2" fmla="*/ 64 w 277"/>
                <a:gd name="T3" fmla="*/ 9 h 277"/>
                <a:gd name="T4" fmla="*/ 0 w 277"/>
                <a:gd name="T5" fmla="*/ 64 h 277"/>
                <a:gd name="T6" fmla="*/ 11 w 277"/>
                <a:gd name="T7" fmla="*/ 117 h 277"/>
                <a:gd name="T8" fmla="*/ 64 w 277"/>
                <a:gd name="T9" fmla="*/ 107 h 277"/>
                <a:gd name="T10" fmla="*/ 53 w 277"/>
                <a:gd name="T11" fmla="*/ 53 h 277"/>
                <a:gd name="T12" fmla="*/ 21 w 277"/>
                <a:gd name="T13" fmla="*/ 96 h 277"/>
                <a:gd name="T14" fmla="*/ 43 w 277"/>
                <a:gd name="T15" fmla="*/ 75 h 277"/>
                <a:gd name="T16" fmla="*/ 149 w 277"/>
                <a:gd name="T17" fmla="*/ 107 h 277"/>
                <a:gd name="T18" fmla="*/ 139 w 277"/>
                <a:gd name="T19" fmla="*/ 53 h 277"/>
                <a:gd name="T20" fmla="*/ 140 w 277"/>
                <a:gd name="T21" fmla="*/ 21 h 277"/>
                <a:gd name="T22" fmla="*/ 137 w 277"/>
                <a:gd name="T23" fmla="*/ 0 h 277"/>
                <a:gd name="T24" fmla="*/ 85 w 277"/>
                <a:gd name="T25" fmla="*/ 107 h 277"/>
                <a:gd name="T26" fmla="*/ 139 w 277"/>
                <a:gd name="T27" fmla="*/ 117 h 277"/>
                <a:gd name="T28" fmla="*/ 128 w 277"/>
                <a:gd name="T29" fmla="*/ 96 h 277"/>
                <a:gd name="T30" fmla="*/ 107 w 277"/>
                <a:gd name="T31" fmla="*/ 75 h 277"/>
                <a:gd name="T32" fmla="*/ 128 w 277"/>
                <a:gd name="T33" fmla="*/ 96 h 277"/>
                <a:gd name="T34" fmla="*/ 224 w 277"/>
                <a:gd name="T35" fmla="*/ 160 h 277"/>
                <a:gd name="T36" fmla="*/ 213 w 277"/>
                <a:gd name="T37" fmla="*/ 213 h 277"/>
                <a:gd name="T38" fmla="*/ 255 w 277"/>
                <a:gd name="T39" fmla="*/ 224 h 277"/>
                <a:gd name="T40" fmla="*/ 213 w 277"/>
                <a:gd name="T41" fmla="*/ 268 h 277"/>
                <a:gd name="T42" fmla="*/ 225 w 277"/>
                <a:gd name="T43" fmla="*/ 277 h 277"/>
                <a:gd name="T44" fmla="*/ 277 w 277"/>
                <a:gd name="T45" fmla="*/ 171 h 277"/>
                <a:gd name="T46" fmla="*/ 235 w 277"/>
                <a:gd name="T47" fmla="*/ 181 h 277"/>
                <a:gd name="T48" fmla="*/ 256 w 277"/>
                <a:gd name="T49" fmla="*/ 203 h 277"/>
                <a:gd name="T50" fmla="*/ 235 w 277"/>
                <a:gd name="T51" fmla="*/ 181 h 277"/>
                <a:gd name="T52" fmla="*/ 139 w 277"/>
                <a:gd name="T53" fmla="*/ 160 h 277"/>
                <a:gd name="T54" fmla="*/ 128 w 277"/>
                <a:gd name="T55" fmla="*/ 213 h 277"/>
                <a:gd name="T56" fmla="*/ 170 w 277"/>
                <a:gd name="T57" fmla="*/ 224 h 277"/>
                <a:gd name="T58" fmla="*/ 128 w 277"/>
                <a:gd name="T59" fmla="*/ 268 h 277"/>
                <a:gd name="T60" fmla="*/ 140 w 277"/>
                <a:gd name="T61" fmla="*/ 277 h 277"/>
                <a:gd name="T62" fmla="*/ 192 w 277"/>
                <a:gd name="T63" fmla="*/ 171 h 277"/>
                <a:gd name="T64" fmla="*/ 149 w 277"/>
                <a:gd name="T65" fmla="*/ 181 h 277"/>
                <a:gd name="T66" fmla="*/ 171 w 277"/>
                <a:gd name="T67" fmla="*/ 203 h 277"/>
                <a:gd name="T68" fmla="*/ 149 w 277"/>
                <a:gd name="T69" fmla="*/ 18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7" h="277">
                  <a:moveTo>
                    <a:pt x="53" y="53"/>
                  </a:moveTo>
                  <a:cubicBezTo>
                    <a:pt x="22" y="53"/>
                    <a:pt x="22" y="53"/>
                    <a:pt x="22" y="53"/>
                  </a:cubicBezTo>
                  <a:cubicBezTo>
                    <a:pt x="27" y="26"/>
                    <a:pt x="51" y="22"/>
                    <a:pt x="55" y="21"/>
                  </a:cubicBezTo>
                  <a:cubicBezTo>
                    <a:pt x="60" y="21"/>
                    <a:pt x="65" y="15"/>
                    <a:pt x="64" y="9"/>
                  </a:cubicBezTo>
                  <a:cubicBezTo>
                    <a:pt x="63" y="4"/>
                    <a:pt x="58" y="0"/>
                    <a:pt x="52" y="0"/>
                  </a:cubicBezTo>
                  <a:cubicBezTo>
                    <a:pt x="34" y="2"/>
                    <a:pt x="0" y="18"/>
                    <a:pt x="0" y="64"/>
                  </a:cubicBezTo>
                  <a:cubicBezTo>
                    <a:pt x="0" y="107"/>
                    <a:pt x="0" y="107"/>
                    <a:pt x="0" y="107"/>
                  </a:cubicBezTo>
                  <a:cubicBezTo>
                    <a:pt x="0" y="113"/>
                    <a:pt x="5" y="117"/>
                    <a:pt x="11" y="117"/>
                  </a:cubicBezTo>
                  <a:cubicBezTo>
                    <a:pt x="53" y="117"/>
                    <a:pt x="53" y="117"/>
                    <a:pt x="53" y="117"/>
                  </a:cubicBezTo>
                  <a:cubicBezTo>
                    <a:pt x="59" y="117"/>
                    <a:pt x="64" y="113"/>
                    <a:pt x="64" y="107"/>
                  </a:cubicBezTo>
                  <a:cubicBezTo>
                    <a:pt x="64" y="64"/>
                    <a:pt x="64" y="64"/>
                    <a:pt x="64" y="64"/>
                  </a:cubicBezTo>
                  <a:cubicBezTo>
                    <a:pt x="64" y="58"/>
                    <a:pt x="59" y="53"/>
                    <a:pt x="53" y="53"/>
                  </a:cubicBezTo>
                  <a:close/>
                  <a:moveTo>
                    <a:pt x="43" y="96"/>
                  </a:moveTo>
                  <a:cubicBezTo>
                    <a:pt x="21" y="96"/>
                    <a:pt x="21" y="96"/>
                    <a:pt x="21" y="96"/>
                  </a:cubicBezTo>
                  <a:cubicBezTo>
                    <a:pt x="21" y="75"/>
                    <a:pt x="21" y="75"/>
                    <a:pt x="21" y="75"/>
                  </a:cubicBezTo>
                  <a:cubicBezTo>
                    <a:pt x="43" y="75"/>
                    <a:pt x="43" y="75"/>
                    <a:pt x="43" y="75"/>
                  </a:cubicBezTo>
                  <a:lnTo>
                    <a:pt x="43" y="96"/>
                  </a:lnTo>
                  <a:close/>
                  <a:moveTo>
                    <a:pt x="149" y="107"/>
                  </a:moveTo>
                  <a:cubicBezTo>
                    <a:pt x="149" y="64"/>
                    <a:pt x="149" y="64"/>
                    <a:pt x="149" y="64"/>
                  </a:cubicBezTo>
                  <a:cubicBezTo>
                    <a:pt x="149" y="58"/>
                    <a:pt x="145" y="53"/>
                    <a:pt x="139" y="53"/>
                  </a:cubicBezTo>
                  <a:cubicBezTo>
                    <a:pt x="108" y="53"/>
                    <a:pt x="108" y="53"/>
                    <a:pt x="108" y="53"/>
                  </a:cubicBezTo>
                  <a:cubicBezTo>
                    <a:pt x="113" y="26"/>
                    <a:pt x="137" y="22"/>
                    <a:pt x="140" y="21"/>
                  </a:cubicBezTo>
                  <a:cubicBezTo>
                    <a:pt x="146" y="21"/>
                    <a:pt x="150" y="15"/>
                    <a:pt x="149" y="9"/>
                  </a:cubicBezTo>
                  <a:cubicBezTo>
                    <a:pt x="149" y="4"/>
                    <a:pt x="143" y="0"/>
                    <a:pt x="137" y="0"/>
                  </a:cubicBezTo>
                  <a:cubicBezTo>
                    <a:pt x="119" y="2"/>
                    <a:pt x="85" y="18"/>
                    <a:pt x="85" y="64"/>
                  </a:cubicBezTo>
                  <a:cubicBezTo>
                    <a:pt x="85" y="107"/>
                    <a:pt x="85" y="107"/>
                    <a:pt x="85" y="107"/>
                  </a:cubicBezTo>
                  <a:cubicBezTo>
                    <a:pt x="85" y="113"/>
                    <a:pt x="90" y="117"/>
                    <a:pt x="96" y="117"/>
                  </a:cubicBezTo>
                  <a:cubicBezTo>
                    <a:pt x="139" y="117"/>
                    <a:pt x="139" y="117"/>
                    <a:pt x="139" y="117"/>
                  </a:cubicBezTo>
                  <a:cubicBezTo>
                    <a:pt x="145" y="117"/>
                    <a:pt x="149" y="113"/>
                    <a:pt x="149" y="107"/>
                  </a:cubicBezTo>
                  <a:close/>
                  <a:moveTo>
                    <a:pt x="128" y="96"/>
                  </a:moveTo>
                  <a:cubicBezTo>
                    <a:pt x="107" y="96"/>
                    <a:pt x="107" y="96"/>
                    <a:pt x="107" y="96"/>
                  </a:cubicBezTo>
                  <a:cubicBezTo>
                    <a:pt x="107" y="75"/>
                    <a:pt x="107" y="75"/>
                    <a:pt x="107" y="75"/>
                  </a:cubicBezTo>
                  <a:cubicBezTo>
                    <a:pt x="128" y="75"/>
                    <a:pt x="128" y="75"/>
                    <a:pt x="128" y="75"/>
                  </a:cubicBezTo>
                  <a:lnTo>
                    <a:pt x="128" y="96"/>
                  </a:lnTo>
                  <a:close/>
                  <a:moveTo>
                    <a:pt x="267" y="160"/>
                  </a:moveTo>
                  <a:cubicBezTo>
                    <a:pt x="224" y="160"/>
                    <a:pt x="224" y="160"/>
                    <a:pt x="224" y="160"/>
                  </a:cubicBezTo>
                  <a:cubicBezTo>
                    <a:pt x="218" y="160"/>
                    <a:pt x="213" y="165"/>
                    <a:pt x="213" y="171"/>
                  </a:cubicBezTo>
                  <a:cubicBezTo>
                    <a:pt x="213" y="213"/>
                    <a:pt x="213" y="213"/>
                    <a:pt x="213" y="213"/>
                  </a:cubicBezTo>
                  <a:cubicBezTo>
                    <a:pt x="213" y="219"/>
                    <a:pt x="218" y="224"/>
                    <a:pt x="224" y="224"/>
                  </a:cubicBezTo>
                  <a:cubicBezTo>
                    <a:pt x="255" y="224"/>
                    <a:pt x="255" y="224"/>
                    <a:pt x="255" y="224"/>
                  </a:cubicBezTo>
                  <a:cubicBezTo>
                    <a:pt x="250" y="252"/>
                    <a:pt x="226" y="256"/>
                    <a:pt x="223" y="256"/>
                  </a:cubicBezTo>
                  <a:cubicBezTo>
                    <a:pt x="217" y="257"/>
                    <a:pt x="213" y="262"/>
                    <a:pt x="213" y="268"/>
                  </a:cubicBezTo>
                  <a:cubicBezTo>
                    <a:pt x="214" y="273"/>
                    <a:pt x="219" y="277"/>
                    <a:pt x="224" y="277"/>
                  </a:cubicBezTo>
                  <a:cubicBezTo>
                    <a:pt x="224" y="277"/>
                    <a:pt x="225" y="277"/>
                    <a:pt x="225" y="277"/>
                  </a:cubicBezTo>
                  <a:cubicBezTo>
                    <a:pt x="243" y="275"/>
                    <a:pt x="277" y="259"/>
                    <a:pt x="277" y="213"/>
                  </a:cubicBezTo>
                  <a:cubicBezTo>
                    <a:pt x="277" y="171"/>
                    <a:pt x="277" y="171"/>
                    <a:pt x="277" y="171"/>
                  </a:cubicBezTo>
                  <a:cubicBezTo>
                    <a:pt x="277" y="165"/>
                    <a:pt x="273" y="160"/>
                    <a:pt x="267" y="160"/>
                  </a:cubicBezTo>
                  <a:close/>
                  <a:moveTo>
                    <a:pt x="235" y="181"/>
                  </a:moveTo>
                  <a:cubicBezTo>
                    <a:pt x="256" y="181"/>
                    <a:pt x="256" y="181"/>
                    <a:pt x="256" y="181"/>
                  </a:cubicBezTo>
                  <a:cubicBezTo>
                    <a:pt x="256" y="203"/>
                    <a:pt x="256" y="203"/>
                    <a:pt x="256" y="203"/>
                  </a:cubicBezTo>
                  <a:cubicBezTo>
                    <a:pt x="235" y="203"/>
                    <a:pt x="235" y="203"/>
                    <a:pt x="235" y="203"/>
                  </a:cubicBezTo>
                  <a:lnTo>
                    <a:pt x="235" y="181"/>
                  </a:lnTo>
                  <a:close/>
                  <a:moveTo>
                    <a:pt x="181" y="160"/>
                  </a:moveTo>
                  <a:cubicBezTo>
                    <a:pt x="139" y="160"/>
                    <a:pt x="139" y="160"/>
                    <a:pt x="139" y="160"/>
                  </a:cubicBezTo>
                  <a:cubicBezTo>
                    <a:pt x="133" y="160"/>
                    <a:pt x="128" y="165"/>
                    <a:pt x="128" y="171"/>
                  </a:cubicBezTo>
                  <a:cubicBezTo>
                    <a:pt x="128" y="213"/>
                    <a:pt x="128" y="213"/>
                    <a:pt x="128" y="213"/>
                  </a:cubicBezTo>
                  <a:cubicBezTo>
                    <a:pt x="128" y="219"/>
                    <a:pt x="133" y="224"/>
                    <a:pt x="139" y="224"/>
                  </a:cubicBezTo>
                  <a:cubicBezTo>
                    <a:pt x="170" y="224"/>
                    <a:pt x="170" y="224"/>
                    <a:pt x="170" y="224"/>
                  </a:cubicBezTo>
                  <a:cubicBezTo>
                    <a:pt x="165" y="252"/>
                    <a:pt x="141" y="256"/>
                    <a:pt x="137" y="256"/>
                  </a:cubicBezTo>
                  <a:cubicBezTo>
                    <a:pt x="132" y="257"/>
                    <a:pt x="127" y="262"/>
                    <a:pt x="128" y="268"/>
                  </a:cubicBezTo>
                  <a:cubicBezTo>
                    <a:pt x="129" y="273"/>
                    <a:pt x="133" y="277"/>
                    <a:pt x="139" y="277"/>
                  </a:cubicBezTo>
                  <a:cubicBezTo>
                    <a:pt x="139" y="277"/>
                    <a:pt x="139" y="277"/>
                    <a:pt x="140" y="277"/>
                  </a:cubicBezTo>
                  <a:cubicBezTo>
                    <a:pt x="158" y="275"/>
                    <a:pt x="192" y="259"/>
                    <a:pt x="192" y="213"/>
                  </a:cubicBezTo>
                  <a:cubicBezTo>
                    <a:pt x="192" y="171"/>
                    <a:pt x="192" y="171"/>
                    <a:pt x="192" y="171"/>
                  </a:cubicBezTo>
                  <a:cubicBezTo>
                    <a:pt x="192" y="165"/>
                    <a:pt x="187" y="160"/>
                    <a:pt x="181" y="160"/>
                  </a:cubicBezTo>
                  <a:close/>
                  <a:moveTo>
                    <a:pt x="149" y="181"/>
                  </a:moveTo>
                  <a:cubicBezTo>
                    <a:pt x="171" y="181"/>
                    <a:pt x="171" y="181"/>
                    <a:pt x="171" y="181"/>
                  </a:cubicBezTo>
                  <a:cubicBezTo>
                    <a:pt x="171" y="203"/>
                    <a:pt x="171" y="203"/>
                    <a:pt x="171" y="203"/>
                  </a:cubicBezTo>
                  <a:cubicBezTo>
                    <a:pt x="149" y="203"/>
                    <a:pt x="149" y="203"/>
                    <a:pt x="149" y="203"/>
                  </a:cubicBezTo>
                  <a:lnTo>
                    <a:pt x="149" y="18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00796" tIns="50398" rIns="100796" bIns="5039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709" b="0" i="0" u="none" strike="noStrike" kern="1200" cap="none" spc="0" normalizeH="0" baseline="0" noProof="0">
                <a:ln>
                  <a:noFill/>
                </a:ln>
                <a:solidFill>
                  <a:srgbClr val="000000"/>
                </a:solidFill>
                <a:effectLst/>
                <a:uLnTx/>
                <a:uFillTx/>
                <a:latin typeface="Verdana"/>
                <a:ea typeface="+mn-ea"/>
                <a:cs typeface="+mn-cs"/>
              </a:endParaRPr>
            </a:p>
          </p:txBody>
        </p:sp>
      </p:grpSp>
      <p:graphicFrame>
        <p:nvGraphicFramePr>
          <p:cNvPr id="80" name="Table 57">
            <a:extLst>
              <a:ext uri="{FF2B5EF4-FFF2-40B4-BE49-F238E27FC236}">
                <a16:creationId xmlns:a16="http://schemas.microsoft.com/office/drawing/2014/main" id="{102FF71B-C277-EE06-6F95-2D11B7FE28AA}"/>
              </a:ext>
            </a:extLst>
          </p:cNvPr>
          <p:cNvGraphicFramePr>
            <a:graphicFrameLocks noGrp="1"/>
          </p:cNvGraphicFramePr>
          <p:nvPr>
            <p:extLst>
              <p:ext uri="{D42A27DB-BD31-4B8C-83A1-F6EECF244321}">
                <p14:modId xmlns:p14="http://schemas.microsoft.com/office/powerpoint/2010/main" val="372747900"/>
              </p:ext>
            </p:extLst>
          </p:nvPr>
        </p:nvGraphicFramePr>
        <p:xfrm>
          <a:off x="999436" y="3208227"/>
          <a:ext cx="4952039" cy="2834640"/>
        </p:xfrm>
        <a:graphic>
          <a:graphicData uri="http://schemas.openxmlformats.org/drawingml/2006/table">
            <a:tbl>
              <a:tblPr firstRow="1" bandRow="1">
                <a:tableStyleId>{2D5ABB26-0587-4C30-8999-92F81FD0307C}</a:tableStyleId>
              </a:tblPr>
              <a:tblGrid>
                <a:gridCol w="1467101">
                  <a:extLst>
                    <a:ext uri="{9D8B030D-6E8A-4147-A177-3AD203B41FA5}">
                      <a16:colId xmlns:a16="http://schemas.microsoft.com/office/drawing/2014/main" val="4021449722"/>
                    </a:ext>
                  </a:extLst>
                </a:gridCol>
                <a:gridCol w="3484938">
                  <a:extLst>
                    <a:ext uri="{9D8B030D-6E8A-4147-A177-3AD203B41FA5}">
                      <a16:colId xmlns:a16="http://schemas.microsoft.com/office/drawing/2014/main" val="1813202450"/>
                    </a:ext>
                  </a:extLst>
                </a:gridCol>
              </a:tblGrid>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86BC25"/>
                          </a:solidFill>
                          <a:effectLst/>
                          <a:uLnTx/>
                          <a:uFillTx/>
                          <a:ea typeface="+mn-ea"/>
                          <a:cs typeface="+mn-cs"/>
                        </a:rPr>
                        <a:t>Prioritised </a:t>
                      </a:r>
                      <a:br>
                        <a:rPr kumimoji="0" lang="pl-PL" sz="1200" b="1" i="0" u="none" strike="noStrike" kern="1200" cap="none" spc="0" normalizeH="0" baseline="0" noProof="0" dirty="0">
                          <a:ln>
                            <a:noFill/>
                          </a:ln>
                          <a:solidFill>
                            <a:srgbClr val="86BC25"/>
                          </a:solidFill>
                          <a:effectLst/>
                          <a:uLnTx/>
                          <a:uFillTx/>
                          <a:ea typeface="+mn-ea"/>
                          <a:cs typeface="+mn-cs"/>
                        </a:rPr>
                      </a:br>
                      <a:r>
                        <a:rPr kumimoji="0" lang="en-GB" sz="1200" b="1" i="0" u="none" strike="noStrike" kern="1200" cap="none" spc="0" normalizeH="0" baseline="0" noProof="0" dirty="0">
                          <a:ln>
                            <a:noFill/>
                          </a:ln>
                          <a:solidFill>
                            <a:srgbClr val="86BC25"/>
                          </a:solidFill>
                          <a:effectLst/>
                          <a:uLnTx/>
                          <a:uFillTx/>
                          <a:ea typeface="+mn-ea"/>
                          <a:cs typeface="+mn-cs"/>
                        </a:rPr>
                        <a:t>Recovery Planning</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i="0" u="none" strike="noStrike" kern="1200" cap="none" spc="0" normalizeH="0" baseline="0" noProof="0" dirty="0">
                          <a:ln>
                            <a:noFill/>
                          </a:ln>
                          <a:solidFill>
                            <a:srgbClr val="000000"/>
                          </a:solidFill>
                          <a:effectLst/>
                          <a:uLnTx/>
                          <a:uFillTx/>
                          <a:ea typeface="+mn-ea"/>
                          <a:cs typeface="+mn-cs"/>
                        </a:rPr>
                        <a:t>Recovery Plans and Playbook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i="0" u="none" strike="noStrike" kern="1200" cap="none" spc="0" normalizeH="0" baseline="0" noProof="0" dirty="0">
                          <a:ln>
                            <a:noFill/>
                          </a:ln>
                          <a:solidFill>
                            <a:srgbClr val="000000"/>
                          </a:solidFill>
                          <a:effectLst/>
                          <a:uLnTx/>
                          <a:uFillTx/>
                          <a:ea typeface="+mn-ea"/>
                          <a:cs typeface="+mn-cs"/>
                        </a:rPr>
                        <a:t>Prioritisation of key processes, systems and infrastructure</a:t>
                      </a:r>
                      <a:endParaRPr kumimoji="0" lang="pl-PL" sz="1000" i="0" u="none" strike="noStrike" kern="1200" cap="none" spc="0" normalizeH="0" baseline="0" noProof="0" dirty="0">
                        <a:ln>
                          <a:noFill/>
                        </a:ln>
                        <a:solidFill>
                          <a:srgbClr val="000000"/>
                        </a:solidFill>
                        <a:effectLst/>
                        <a:uLnTx/>
                        <a:uFillTx/>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i="0" u="none" strike="noStrike" kern="1200" cap="none" spc="0" normalizeH="0" baseline="0" noProof="0" dirty="0">
                          <a:ln>
                            <a:noFill/>
                          </a:ln>
                          <a:solidFill>
                            <a:srgbClr val="000000"/>
                          </a:solidFill>
                          <a:effectLst/>
                          <a:uLnTx/>
                          <a:uFillTx/>
                          <a:ea typeface="+mn-ea"/>
                          <a:cs typeface="+mn-cs"/>
                        </a:rPr>
                        <a:t>Recovery governance</a:t>
                      </a:r>
                    </a:p>
                  </a:txBody>
                  <a:tcPr anchor="ctr">
                    <a:lnL>
                      <a:noFill/>
                    </a:lnL>
                    <a:lnR>
                      <a:noFill/>
                    </a:lnR>
                    <a:lnT>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00321939"/>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200" b="1" dirty="0">
                          <a:solidFill>
                            <a:srgbClr val="43B02A"/>
                          </a:solidFill>
                        </a:rPr>
                        <a:t>Building Blocks </a:t>
                      </a:r>
                      <a:br>
                        <a:rPr lang="pl-PL" sz="1200" b="1" dirty="0">
                          <a:solidFill>
                            <a:srgbClr val="43B02A"/>
                          </a:solidFill>
                        </a:rPr>
                      </a:br>
                      <a:r>
                        <a:rPr lang="en-GB" sz="1200" b="1" dirty="0">
                          <a:solidFill>
                            <a:srgbClr val="43B02A"/>
                          </a:solidFill>
                        </a:rPr>
                        <a:t>of Recovery</a:t>
                      </a:r>
                      <a:endParaRPr kumimoji="0" lang="en-GB" sz="1200" b="1" i="0" u="none" strike="noStrike" kern="1200" cap="none" spc="0" normalizeH="0" baseline="0" noProof="0" dirty="0">
                        <a:ln>
                          <a:noFill/>
                        </a:ln>
                        <a:solidFill>
                          <a:srgbClr val="43B02A"/>
                        </a:solidFill>
                        <a:effectLst/>
                        <a:uLnTx/>
                        <a:uFillTx/>
                      </a:endParaRPr>
                    </a:p>
                  </a:txBody>
                  <a:tcPr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defRPr/>
                      </a:pPr>
                      <a:r>
                        <a:rPr lang="en-GB" sz="1000" dirty="0">
                          <a:solidFill>
                            <a:srgbClr val="000000"/>
                          </a:solidFill>
                        </a:rPr>
                        <a:t>Backup / Vaulting solution</a:t>
                      </a:r>
                    </a:p>
                    <a:p>
                      <a:pPr marL="171450" lvl="0" indent="-171450">
                        <a:buFont typeface="Arial" panose="020B0604020202020204" pitchFamily="34" charset="0"/>
                        <a:buChar char="•"/>
                        <a:defRPr/>
                      </a:pPr>
                      <a:r>
                        <a:rPr lang="en-GB" sz="1000" dirty="0">
                          <a:solidFill>
                            <a:srgbClr val="000000"/>
                          </a:solidFill>
                        </a:rPr>
                        <a:t>Recovery Architecture Frameworks</a:t>
                      </a:r>
                    </a:p>
                    <a:p>
                      <a:pPr marL="171450" indent="-171450">
                        <a:buFont typeface="Arial" panose="020B0604020202020204" pitchFamily="34" charset="0"/>
                        <a:buChar char="•"/>
                        <a:defRPr/>
                      </a:pPr>
                      <a:r>
                        <a:rPr lang="en-GB" sz="1000" dirty="0">
                          <a:solidFill>
                            <a:srgbClr val="000000"/>
                          </a:solidFill>
                        </a:rPr>
                        <a:t>Backup Policies, Testing and Architecture reviews</a:t>
                      </a:r>
                      <a:endParaRPr kumimoji="0" lang="en-GB" sz="1000" i="0" u="none" strike="noStrike" kern="1200" cap="none" spc="0" normalizeH="0" baseline="0" noProof="0" dirty="0">
                        <a:ln>
                          <a:noFill/>
                        </a:ln>
                        <a:solidFill>
                          <a:srgbClr val="000000"/>
                        </a:solidFill>
                        <a:effectLst/>
                        <a:uLnTx/>
                        <a:uFillTx/>
                        <a:ea typeface="+mn-ea"/>
                        <a:cs typeface="+mn-cs"/>
                      </a:endParaRPr>
                    </a:p>
                  </a:txBody>
                  <a:tcPr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27909919"/>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9A44"/>
                          </a:solidFill>
                          <a:effectLst/>
                          <a:uLnTx/>
                          <a:uFillTx/>
                          <a:ea typeface="+mn-ea"/>
                          <a:cs typeface="+mn-cs"/>
                        </a:rPr>
                        <a:t>Burst Capacity</a:t>
                      </a:r>
                    </a:p>
                  </a:txBody>
                  <a:tcPr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i="0" u="none" strike="noStrike" kern="1200" cap="none" spc="0" normalizeH="0" baseline="0" noProof="0" dirty="0">
                          <a:ln>
                            <a:noFill/>
                          </a:ln>
                          <a:solidFill>
                            <a:srgbClr val="000000"/>
                          </a:solidFill>
                          <a:effectLst/>
                          <a:uLnTx/>
                          <a:uFillTx/>
                          <a:ea typeface="+mn-ea"/>
                          <a:cs typeface="+mn-cs"/>
                        </a:rPr>
                        <a:t>Review of choke points e.g. licensing requirement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rgbClr val="000000"/>
                          </a:solidFill>
                        </a:rPr>
                        <a:t>Plans to develop burst capacity</a:t>
                      </a:r>
                      <a:endParaRPr kumimoji="0" lang="en-GB" sz="1000" i="0" u="none" strike="noStrike" kern="1200" cap="none" spc="0" normalizeH="0" baseline="0" noProof="0" dirty="0">
                        <a:ln>
                          <a:noFill/>
                        </a:ln>
                        <a:solidFill>
                          <a:srgbClr val="000000"/>
                        </a:solidFill>
                        <a:effectLst/>
                        <a:uLnTx/>
                        <a:uFillTx/>
                        <a:ea typeface="+mn-ea"/>
                        <a:cs typeface="+mn-cs"/>
                      </a:endParaRPr>
                    </a:p>
                  </a:txBody>
                  <a:tcPr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7693292"/>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7680"/>
                          </a:solidFill>
                          <a:effectLst/>
                          <a:uLnTx/>
                          <a:uFillTx/>
                          <a:ea typeface="+mn-ea"/>
                          <a:cs typeface="+mn-cs"/>
                        </a:rPr>
                        <a:t>Organisational Readiness &amp; Alignment</a:t>
                      </a:r>
                    </a:p>
                  </a:txBody>
                  <a:tcPr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i="0" u="none" strike="noStrike" kern="1200" cap="none" spc="0" normalizeH="0" baseline="0" noProof="0" dirty="0">
                          <a:ln>
                            <a:noFill/>
                          </a:ln>
                          <a:solidFill>
                            <a:srgbClr val="000000"/>
                          </a:solidFill>
                          <a:effectLst/>
                          <a:uLnTx/>
                          <a:uFillTx/>
                          <a:ea typeface="+mn-ea"/>
                          <a:cs typeface="+mn-cs"/>
                        </a:rPr>
                        <a:t>Documented Crisis Team, Communications and Processe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i="0" u="none" strike="noStrike" kern="1200" cap="none" spc="0" normalizeH="0" baseline="0" noProof="0" dirty="0">
                          <a:ln>
                            <a:noFill/>
                          </a:ln>
                          <a:solidFill>
                            <a:srgbClr val="000000"/>
                          </a:solidFill>
                          <a:effectLst/>
                          <a:uLnTx/>
                          <a:uFillTx/>
                          <a:ea typeface="+mn-ea"/>
                          <a:cs typeface="+mn-cs"/>
                        </a:rPr>
                        <a:t>Crisis Exercising</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rgbClr val="000000"/>
                          </a:solidFill>
                        </a:rPr>
                        <a:t>Organisational readiness review</a:t>
                      </a:r>
                      <a:endParaRPr kumimoji="0" lang="en-GB" sz="1000" i="0" u="none" strike="noStrike" kern="1200" cap="none" spc="0" normalizeH="0" baseline="0" noProof="0" dirty="0">
                        <a:ln>
                          <a:noFill/>
                        </a:ln>
                        <a:solidFill>
                          <a:srgbClr val="000000"/>
                        </a:solidFill>
                        <a:effectLst/>
                        <a:uLnTx/>
                        <a:uFillTx/>
                        <a:ea typeface="+mn-ea"/>
                        <a:cs typeface="+mn-cs"/>
                      </a:endParaRPr>
                    </a:p>
                  </a:txBody>
                  <a:tcPr anchor="ctr">
                    <a:lnL>
                      <a:noFill/>
                    </a:lnL>
                    <a:lnR>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60420213"/>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97A9"/>
                          </a:solidFill>
                          <a:effectLst/>
                          <a:uLnTx/>
                          <a:uFillTx/>
                          <a:ea typeface="+mn-ea"/>
                          <a:cs typeface="+mn-cs"/>
                        </a:rPr>
                        <a:t>Minimise </a:t>
                      </a:r>
                      <a:br>
                        <a:rPr kumimoji="0" lang="pl-PL" sz="1200" b="1" i="0" u="none" strike="noStrike" kern="1200" cap="none" spc="0" normalizeH="0" baseline="0" noProof="0" dirty="0">
                          <a:ln>
                            <a:noFill/>
                          </a:ln>
                          <a:solidFill>
                            <a:srgbClr val="0097A9"/>
                          </a:solidFill>
                          <a:effectLst/>
                          <a:uLnTx/>
                          <a:uFillTx/>
                          <a:ea typeface="+mn-ea"/>
                          <a:cs typeface="+mn-cs"/>
                        </a:rPr>
                      </a:br>
                      <a:r>
                        <a:rPr kumimoji="0" lang="en-GB" sz="1200" b="1" i="0" u="none" strike="noStrike" kern="1200" cap="none" spc="0" normalizeH="0" baseline="0" noProof="0" dirty="0">
                          <a:ln>
                            <a:noFill/>
                          </a:ln>
                          <a:solidFill>
                            <a:srgbClr val="0097A9"/>
                          </a:solidFill>
                          <a:effectLst/>
                          <a:uLnTx/>
                          <a:uFillTx/>
                          <a:ea typeface="+mn-ea"/>
                          <a:cs typeface="+mn-cs"/>
                        </a:rPr>
                        <a:t>Blast Radius</a:t>
                      </a:r>
                    </a:p>
                  </a:txBody>
                  <a:tcPr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rgbClr val="000000"/>
                          </a:solidFill>
                        </a:rPr>
                        <a:t>Network Segmentation </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rgbClr val="000000"/>
                          </a:solidFill>
                        </a:rPr>
                        <a:t>Identity Governance</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rgbClr val="000000"/>
                          </a:solidFill>
                        </a:rPr>
                        <a:t>Vulnerability and Patch </a:t>
                      </a:r>
                      <a:r>
                        <a:rPr lang="en-GB" sz="1000" dirty="0" err="1">
                          <a:solidFill>
                            <a:srgbClr val="000000"/>
                          </a:solidFill>
                        </a:rPr>
                        <a:t>Mgmt</a:t>
                      </a:r>
                      <a:endParaRPr lang="en-GB" sz="1000" dirty="0">
                        <a:solidFill>
                          <a:srgbClr val="000000"/>
                        </a:solidFil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dirty="0">
                          <a:solidFill>
                            <a:srgbClr val="000000"/>
                          </a:solidFill>
                        </a:rPr>
                        <a:t>Automation and Orchestration</a:t>
                      </a:r>
                    </a:p>
                  </a:txBody>
                  <a:tcPr anchor="ctr">
                    <a:lnL>
                      <a:noFill/>
                    </a:lnL>
                    <a:lnR>
                      <a:noFill/>
                    </a:lnR>
                    <a:lnT w="9525"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770998572"/>
                  </a:ext>
                </a:extLst>
              </a:tr>
            </a:tbl>
          </a:graphicData>
        </a:graphic>
      </p:graphicFrame>
      <p:cxnSp>
        <p:nvCxnSpPr>
          <p:cNvPr id="81" name="Straight Connector 80">
            <a:extLst>
              <a:ext uri="{FF2B5EF4-FFF2-40B4-BE49-F238E27FC236}">
                <a16:creationId xmlns:a16="http://schemas.microsoft.com/office/drawing/2014/main" id="{306D1051-54C6-4F5F-FA09-597B60FB8B5E}"/>
              </a:ext>
            </a:extLst>
          </p:cNvPr>
          <p:cNvCxnSpPr>
            <a:cxnSpLocks/>
          </p:cNvCxnSpPr>
          <p:nvPr/>
        </p:nvCxnSpPr>
        <p:spPr>
          <a:xfrm>
            <a:off x="732712" y="3635378"/>
            <a:ext cx="1" cy="210345"/>
          </a:xfrm>
          <a:prstGeom prst="line">
            <a:avLst/>
          </a:prstGeom>
          <a:ln>
            <a:gradFill>
              <a:gsLst>
                <a:gs pos="0">
                  <a:srgbClr val="86BC25"/>
                </a:gs>
                <a:gs pos="100000">
                  <a:srgbClr val="43B02A"/>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5C9A486-2D8A-051B-103F-6345FC203D75}"/>
              </a:ext>
            </a:extLst>
          </p:cNvPr>
          <p:cNvCxnSpPr>
            <a:cxnSpLocks/>
          </p:cNvCxnSpPr>
          <p:nvPr/>
        </p:nvCxnSpPr>
        <p:spPr>
          <a:xfrm>
            <a:off x="732713" y="4189054"/>
            <a:ext cx="0" cy="151819"/>
          </a:xfrm>
          <a:prstGeom prst="line">
            <a:avLst/>
          </a:prstGeom>
          <a:ln>
            <a:gradFill>
              <a:gsLst>
                <a:gs pos="0">
                  <a:srgbClr val="43B02A"/>
                </a:gs>
                <a:gs pos="100000">
                  <a:srgbClr val="009A44"/>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E32878A6-27C4-8223-DB1F-1284E4018C12}"/>
              </a:ext>
            </a:extLst>
          </p:cNvPr>
          <p:cNvCxnSpPr>
            <a:cxnSpLocks/>
          </p:cNvCxnSpPr>
          <p:nvPr/>
        </p:nvCxnSpPr>
        <p:spPr>
          <a:xfrm>
            <a:off x="737584" y="4684204"/>
            <a:ext cx="663" cy="174112"/>
          </a:xfrm>
          <a:prstGeom prst="line">
            <a:avLst/>
          </a:prstGeom>
          <a:ln>
            <a:gradFill>
              <a:gsLst>
                <a:gs pos="0">
                  <a:srgbClr val="009A44"/>
                </a:gs>
                <a:gs pos="100000">
                  <a:srgbClr val="007680"/>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18277A3-4B57-58B6-AFFD-F857BA261F55}"/>
              </a:ext>
            </a:extLst>
          </p:cNvPr>
          <p:cNvCxnSpPr>
            <a:cxnSpLocks/>
          </p:cNvCxnSpPr>
          <p:nvPr/>
        </p:nvCxnSpPr>
        <p:spPr>
          <a:xfrm>
            <a:off x="732713" y="5188703"/>
            <a:ext cx="0" cy="312972"/>
          </a:xfrm>
          <a:prstGeom prst="line">
            <a:avLst/>
          </a:prstGeom>
          <a:ln>
            <a:gradFill>
              <a:gsLst>
                <a:gs pos="0">
                  <a:srgbClr val="007680"/>
                </a:gs>
                <a:gs pos="100000">
                  <a:srgbClr val="0097A9"/>
                </a:gs>
              </a:gsLst>
              <a:lin ang="5400000" scaled="1"/>
            </a:gra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97AF8ED0-30B9-AB15-17B7-922B11D25069}"/>
              </a:ext>
            </a:extLst>
          </p:cNvPr>
          <p:cNvSpPr/>
          <p:nvPr/>
        </p:nvSpPr>
        <p:spPr bwMode="gray">
          <a:xfrm>
            <a:off x="6204789" y="3009168"/>
            <a:ext cx="5530012" cy="3141213"/>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
        <p:nvSpPr>
          <p:cNvPr id="86" name="Oval 85">
            <a:extLst>
              <a:ext uri="{FF2B5EF4-FFF2-40B4-BE49-F238E27FC236}">
                <a16:creationId xmlns:a16="http://schemas.microsoft.com/office/drawing/2014/main" id="{9DDDFF98-AD71-5430-896E-EFE8E7A172DB}"/>
              </a:ext>
            </a:extLst>
          </p:cNvPr>
          <p:cNvSpPr/>
          <p:nvPr/>
        </p:nvSpPr>
        <p:spPr bwMode="gray">
          <a:xfrm>
            <a:off x="8086599" y="3176815"/>
            <a:ext cx="544417" cy="544417"/>
          </a:xfrm>
          <a:prstGeom prst="ellipse">
            <a:avLst/>
          </a:prstGeom>
          <a:solidFill>
            <a:srgbClr val="00A3E0">
              <a:alpha val="4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87" name="Oval 86">
            <a:extLst>
              <a:ext uri="{FF2B5EF4-FFF2-40B4-BE49-F238E27FC236}">
                <a16:creationId xmlns:a16="http://schemas.microsoft.com/office/drawing/2014/main" id="{AF09D03D-DE09-8770-7CEB-53E10D867F70}"/>
              </a:ext>
            </a:extLst>
          </p:cNvPr>
          <p:cNvSpPr/>
          <p:nvPr/>
        </p:nvSpPr>
        <p:spPr bwMode="gray">
          <a:xfrm>
            <a:off x="10876159" y="3170328"/>
            <a:ext cx="544417" cy="544417"/>
          </a:xfrm>
          <a:prstGeom prst="ellipse">
            <a:avLst/>
          </a:prstGeom>
          <a:solidFill>
            <a:srgbClr val="62B5E5">
              <a:alpha val="40000"/>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graphicFrame>
        <p:nvGraphicFramePr>
          <p:cNvPr id="88" name="Table 60">
            <a:extLst>
              <a:ext uri="{FF2B5EF4-FFF2-40B4-BE49-F238E27FC236}">
                <a16:creationId xmlns:a16="http://schemas.microsoft.com/office/drawing/2014/main" id="{D01A50EB-6BEB-0F7A-83F0-FF6D71CBD5FA}"/>
              </a:ext>
            </a:extLst>
          </p:cNvPr>
          <p:cNvGraphicFramePr>
            <a:graphicFrameLocks noGrp="1"/>
          </p:cNvGraphicFramePr>
          <p:nvPr>
            <p:extLst>
              <p:ext uri="{D42A27DB-BD31-4B8C-83A1-F6EECF244321}">
                <p14:modId xmlns:p14="http://schemas.microsoft.com/office/powerpoint/2010/main" val="944449088"/>
              </p:ext>
            </p:extLst>
          </p:nvPr>
        </p:nvGraphicFramePr>
        <p:xfrm>
          <a:off x="6272151" y="3176815"/>
          <a:ext cx="5295786" cy="2727960"/>
        </p:xfrm>
        <a:graphic>
          <a:graphicData uri="http://schemas.openxmlformats.org/drawingml/2006/table">
            <a:tbl>
              <a:tblPr firstRow="1" bandRow="1">
                <a:tableStyleId>{2D5ABB26-0587-4C30-8999-92F81FD0307C}</a:tableStyleId>
              </a:tblPr>
              <a:tblGrid>
                <a:gridCol w="2647893">
                  <a:extLst>
                    <a:ext uri="{9D8B030D-6E8A-4147-A177-3AD203B41FA5}">
                      <a16:colId xmlns:a16="http://schemas.microsoft.com/office/drawing/2014/main" val="2273228948"/>
                    </a:ext>
                  </a:extLst>
                </a:gridCol>
                <a:gridCol w="2647893">
                  <a:extLst>
                    <a:ext uri="{9D8B030D-6E8A-4147-A177-3AD203B41FA5}">
                      <a16:colId xmlns:a16="http://schemas.microsoft.com/office/drawing/2014/main" val="3285735439"/>
                    </a:ext>
                  </a:extLst>
                </a:gridCol>
              </a:tblGrid>
              <a:tr h="436992">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400" b="1" dirty="0">
                          <a:solidFill>
                            <a:schemeClr val="tx1"/>
                          </a:solidFill>
                        </a:rPr>
                        <a:t>Respond</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1400" b="1" dirty="0">
                        <a:solidFill>
                          <a:schemeClr val="tx1"/>
                        </a:solidFill>
                        <a:cs typeface="Calibri" panose="020F0502020204030204" pitchFamily="34" charset="0"/>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1400" b="1" dirty="0">
                        <a:solidFill>
                          <a:schemeClr val="tx1"/>
                        </a:solidFill>
                        <a:cs typeface="Calibri" panose="020F0502020204030204" pitchFamily="34"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400" b="1" dirty="0">
                          <a:solidFill>
                            <a:schemeClr val="tx1"/>
                          </a:solidFill>
                        </a:rPr>
                        <a:t>Recover and Transform</a:t>
                      </a:r>
                      <a:endParaRPr lang="en-GB" sz="1400" b="1" dirty="0">
                        <a:solidFill>
                          <a:schemeClr val="tx1"/>
                        </a:solidFill>
                        <a:cs typeface="Calibri" panose="020F0502020204030204" pitchFamily="34" charset="0"/>
                      </a:endParaRPr>
                    </a:p>
                  </a:txBody>
                  <a:tcPr/>
                </a:tc>
                <a:extLst>
                  <a:ext uri="{0D108BD9-81ED-4DB2-BD59-A6C34878D82A}">
                    <a16:rowId xmlns:a16="http://schemas.microsoft.com/office/drawing/2014/main" val="4033502015"/>
                  </a:ext>
                </a:extLst>
              </a:tr>
              <a:tr h="370840">
                <a:tc>
                  <a:txBody>
                    <a:bodyPr/>
                    <a:lstStyle/>
                    <a:p>
                      <a:pPr marL="85725" lvl="1" indent="-85725" defTabSz="914400">
                        <a:spcBef>
                          <a:spcPts val="600"/>
                        </a:spcBef>
                        <a:buSzPct val="100000"/>
                        <a:buFont typeface="Arial" panose="020B0604020202020204" pitchFamily="34" charset="0"/>
                        <a:buChar char="•"/>
                      </a:pPr>
                      <a:r>
                        <a:rPr lang="en-US" sz="1000" b="1" dirty="0">
                          <a:solidFill>
                            <a:schemeClr val="tx1"/>
                          </a:solidFill>
                        </a:rPr>
                        <a:t>24/7 Cyber Incident Response: </a:t>
                      </a:r>
                      <a:r>
                        <a:rPr lang="en-US" sz="1000" dirty="0">
                          <a:solidFill>
                            <a:schemeClr val="tx1"/>
                          </a:solidFill>
                        </a:rPr>
                        <a:t>immediate</a:t>
                      </a:r>
                      <a:r>
                        <a:rPr lang="en-US" sz="1000" b="1" dirty="0">
                          <a:solidFill>
                            <a:schemeClr val="tx1"/>
                          </a:solidFill>
                        </a:rPr>
                        <a:t> </a:t>
                      </a:r>
                      <a:r>
                        <a:rPr lang="en-US" sz="1000" dirty="0">
                          <a:solidFill>
                            <a:schemeClr val="tx1"/>
                          </a:solidFill>
                        </a:rPr>
                        <a:t>investigation to triage and </a:t>
                      </a:r>
                      <a:r>
                        <a:rPr lang="en-GB" sz="1000" dirty="0">
                          <a:solidFill>
                            <a:schemeClr val="tx1"/>
                          </a:solidFill>
                        </a:rPr>
                        <a:t>analyse</a:t>
                      </a:r>
                      <a:r>
                        <a:rPr lang="en-US" sz="1000" dirty="0">
                          <a:solidFill>
                            <a:schemeClr val="tx1"/>
                          </a:solidFill>
                        </a:rPr>
                        <a:t> an incident.</a:t>
                      </a:r>
                    </a:p>
                    <a:p>
                      <a:pPr marL="85725" lvl="1" indent="-85725" defTabSz="914400">
                        <a:spcBef>
                          <a:spcPts val="600"/>
                        </a:spcBef>
                        <a:buSzPct val="100000"/>
                        <a:buFont typeface="Arial" panose="020B0604020202020204" pitchFamily="34" charset="0"/>
                        <a:buChar char="•"/>
                      </a:pPr>
                      <a:r>
                        <a:rPr lang="en-US" sz="1000" b="1" dirty="0">
                          <a:solidFill>
                            <a:schemeClr val="tx1"/>
                          </a:solidFill>
                        </a:rPr>
                        <a:t>Incident Leadership: </a:t>
                      </a:r>
                      <a:r>
                        <a:rPr lang="en-US" sz="1000" dirty="0">
                          <a:solidFill>
                            <a:schemeClr val="tx1"/>
                          </a:solidFill>
                        </a:rPr>
                        <a:t>strategic level guidance to the Exec, helping them and their board understand the journey ahead.</a:t>
                      </a:r>
                    </a:p>
                    <a:p>
                      <a:pPr marL="85725" lvl="1" indent="-85725" defTabSz="914400">
                        <a:spcBef>
                          <a:spcPts val="600"/>
                        </a:spcBef>
                        <a:buSzPct val="100000"/>
                        <a:buFont typeface="Arial" panose="020B0604020202020204" pitchFamily="34" charset="0"/>
                        <a:buChar char="•"/>
                      </a:pPr>
                      <a:r>
                        <a:rPr lang="en-US" sz="1000" b="1" dirty="0">
                          <a:solidFill>
                            <a:schemeClr val="tx1"/>
                          </a:solidFill>
                        </a:rPr>
                        <a:t>Crisis Support: </a:t>
                      </a:r>
                      <a:r>
                        <a:rPr lang="en-US" sz="1000" dirty="0">
                          <a:solidFill>
                            <a:schemeClr val="tx1"/>
                          </a:solidFill>
                        </a:rPr>
                        <a:t>crisis leadership, PMO and communications support.</a:t>
                      </a:r>
                      <a:endParaRPr lang="en-GB" sz="1000" dirty="0">
                        <a:solidFill>
                          <a:schemeClr val="tx1"/>
                        </a:solidFill>
                      </a:endParaRPr>
                    </a:p>
                    <a:p>
                      <a:pPr marL="85725" lvl="1" indent="-85725">
                        <a:spcBef>
                          <a:spcPts val="600"/>
                        </a:spcBef>
                        <a:buSzPct val="100000"/>
                        <a:buFont typeface="Arial" panose="020B0604020202020204" pitchFamily="34" charset="0"/>
                        <a:buChar char="•"/>
                      </a:pPr>
                      <a:r>
                        <a:rPr lang="en-US" sz="1000" b="1" dirty="0">
                          <a:solidFill>
                            <a:schemeClr val="tx1"/>
                          </a:solidFill>
                        </a:rPr>
                        <a:t>Recovery Strategy: </a:t>
                      </a:r>
                      <a:r>
                        <a:rPr lang="en-US" sz="1000" dirty="0">
                          <a:solidFill>
                            <a:schemeClr val="tx1"/>
                          </a:solidFill>
                        </a:rPr>
                        <a:t>recovery strategy outlining the journey to recover the </a:t>
                      </a:r>
                      <a:r>
                        <a:rPr lang="en-US" sz="1000" dirty="0" err="1">
                          <a:solidFill>
                            <a:schemeClr val="tx1"/>
                          </a:solidFill>
                        </a:rPr>
                        <a:t>organisations</a:t>
                      </a:r>
                      <a:r>
                        <a:rPr lang="en-US" sz="1000" dirty="0">
                          <a:solidFill>
                            <a:schemeClr val="tx1"/>
                          </a:solidFill>
                        </a:rPr>
                        <a:t> MVC and BAU.</a:t>
                      </a:r>
                      <a:endParaRPr lang="en-US" sz="1000" dirty="0">
                        <a:solidFill>
                          <a:schemeClr val="tx1"/>
                        </a:solidFill>
                        <a:ea typeface="+mn-ea"/>
                        <a:cs typeface="+mn-cs"/>
                      </a:endParaRPr>
                    </a:p>
                  </a:txBody>
                  <a:tcPr/>
                </a:tc>
                <a:tc>
                  <a:txBody>
                    <a:bodyPr/>
                    <a:lstStyle/>
                    <a:p>
                      <a:pPr marL="0" lvl="1" defTabSz="914400">
                        <a:spcBef>
                          <a:spcPts val="600"/>
                        </a:spcBef>
                        <a:buSzPct val="100000"/>
                      </a:pPr>
                      <a:r>
                        <a:rPr lang="en-GB" sz="1000" b="1" dirty="0">
                          <a:solidFill>
                            <a:schemeClr val="tx1"/>
                          </a:solidFill>
                        </a:rPr>
                        <a:t>Resilience </a:t>
                      </a:r>
                      <a:r>
                        <a:rPr lang="en-GB" sz="1000" b="1" noProof="0" dirty="0">
                          <a:solidFill>
                            <a:schemeClr val="tx1"/>
                          </a:solidFill>
                        </a:rPr>
                        <a:t>Programme </a:t>
                      </a:r>
                      <a:r>
                        <a:rPr lang="en-GB" sz="1000" dirty="0">
                          <a:solidFill>
                            <a:schemeClr val="tx1"/>
                          </a:solidFill>
                        </a:rPr>
                        <a:t>consisting of key phases:</a:t>
                      </a:r>
                    </a:p>
                    <a:p>
                      <a:pPr marL="171450" lvl="1" indent="-171450" defTabSz="914400">
                        <a:spcBef>
                          <a:spcPts val="600"/>
                        </a:spcBef>
                        <a:buSzPct val="100000"/>
                        <a:buFont typeface="Arial" panose="020B0604020202020204" pitchFamily="34" charset="0"/>
                        <a:buChar char="•"/>
                      </a:pPr>
                      <a:r>
                        <a:rPr lang="en-GB" sz="1000" b="1" dirty="0">
                          <a:solidFill>
                            <a:schemeClr val="tx1"/>
                          </a:solidFill>
                        </a:rPr>
                        <a:t>Business Driven: </a:t>
                      </a:r>
                      <a:r>
                        <a:rPr lang="en-GB" sz="1000" b="0" dirty="0">
                          <a:solidFill>
                            <a:schemeClr val="tx1"/>
                          </a:solidFill>
                        </a:rPr>
                        <a:t>identification of critical business services to recover an organisations’ MVC</a:t>
                      </a:r>
                    </a:p>
                    <a:p>
                      <a:pPr marL="171450" lvl="1" indent="-171450" defTabSz="914400">
                        <a:spcBef>
                          <a:spcPts val="600"/>
                        </a:spcBef>
                        <a:buSzPct val="100000"/>
                        <a:buFont typeface="Arial" panose="020B0604020202020204" pitchFamily="34" charset="0"/>
                        <a:buChar char="•"/>
                      </a:pPr>
                      <a:r>
                        <a:rPr lang="en-GB" sz="1000" b="1" dirty="0">
                          <a:solidFill>
                            <a:schemeClr val="tx1"/>
                          </a:solidFill>
                        </a:rPr>
                        <a:t>Recover Securely: </a:t>
                      </a:r>
                      <a:r>
                        <a:rPr lang="en-GB" sz="1000" b="0" dirty="0">
                          <a:solidFill>
                            <a:schemeClr val="tx1"/>
                          </a:solidFill>
                        </a:rPr>
                        <a:t>recover systems and infrastructure to a secured state, rather than past vulnerable states</a:t>
                      </a:r>
                    </a:p>
                    <a:p>
                      <a:pPr marL="171450" marR="0" lvl="1" indent="-171450" algn="l" defTabSz="914400" rtl="0" eaLnBrk="1" fontAlgn="auto" latinLnBrk="0" hangingPunct="1">
                        <a:lnSpc>
                          <a:spcPct val="100000"/>
                        </a:lnSpc>
                        <a:spcBef>
                          <a:spcPts val="600"/>
                        </a:spcBef>
                        <a:spcAft>
                          <a:spcPts val="0"/>
                        </a:spcAft>
                        <a:buClrTx/>
                        <a:buSzPct val="100000"/>
                        <a:buFont typeface="Arial" panose="020B0604020202020204" pitchFamily="34" charset="0"/>
                        <a:buChar char="•"/>
                        <a:tabLst/>
                        <a:defRPr/>
                      </a:pPr>
                      <a:r>
                        <a:rPr lang="en-GB" sz="1000" b="1" dirty="0">
                          <a:solidFill>
                            <a:schemeClr val="tx1"/>
                          </a:solidFill>
                        </a:rPr>
                        <a:t>Strategy to Transform</a:t>
                      </a:r>
                      <a:r>
                        <a:rPr lang="en-GB" sz="1000" b="0" dirty="0">
                          <a:solidFill>
                            <a:schemeClr val="tx1"/>
                          </a:solidFill>
                        </a:rPr>
                        <a:t>: secure the organisation for the future through a large scale transformation</a:t>
                      </a:r>
                      <a:endParaRPr lang="en-GB" sz="1000" b="1" dirty="0">
                        <a:solidFill>
                          <a:schemeClr val="tx1"/>
                        </a:solidFill>
                      </a:endParaRPr>
                    </a:p>
                  </a:txBody>
                  <a:tcPr/>
                </a:tc>
                <a:extLst>
                  <a:ext uri="{0D108BD9-81ED-4DB2-BD59-A6C34878D82A}">
                    <a16:rowId xmlns:a16="http://schemas.microsoft.com/office/drawing/2014/main" val="1793125513"/>
                  </a:ext>
                </a:extLst>
              </a:tr>
            </a:tbl>
          </a:graphicData>
        </a:graphic>
      </p:graphicFrame>
      <p:grpSp>
        <p:nvGrpSpPr>
          <p:cNvPr id="89" name="Graphic 4">
            <a:extLst>
              <a:ext uri="{FF2B5EF4-FFF2-40B4-BE49-F238E27FC236}">
                <a16:creationId xmlns:a16="http://schemas.microsoft.com/office/drawing/2014/main" id="{861B3C05-F97D-39C0-EE93-C476D0F35BF6}"/>
              </a:ext>
            </a:extLst>
          </p:cNvPr>
          <p:cNvGrpSpPr>
            <a:grpSpLocks noChangeAspect="1"/>
          </p:cNvGrpSpPr>
          <p:nvPr/>
        </p:nvGrpSpPr>
        <p:grpSpPr>
          <a:xfrm>
            <a:off x="11194030" y="3467778"/>
            <a:ext cx="355605" cy="308643"/>
            <a:chOff x="1593650" y="1977920"/>
            <a:chExt cx="204477" cy="177474"/>
          </a:xfrm>
          <a:solidFill>
            <a:srgbClr val="000000"/>
          </a:solidFill>
        </p:grpSpPr>
        <p:sp>
          <p:nvSpPr>
            <p:cNvPr id="90" name="Graphic 4">
              <a:extLst>
                <a:ext uri="{FF2B5EF4-FFF2-40B4-BE49-F238E27FC236}">
                  <a16:creationId xmlns:a16="http://schemas.microsoft.com/office/drawing/2014/main" id="{FD469DEA-B3D7-F36C-594F-75E7FDB473DE}"/>
                </a:ext>
              </a:extLst>
            </p:cNvPr>
            <p:cNvSpPr/>
            <p:nvPr/>
          </p:nvSpPr>
          <p:spPr>
            <a:xfrm>
              <a:off x="1593650" y="1977920"/>
              <a:ext cx="122047" cy="108527"/>
            </a:xfrm>
            <a:custGeom>
              <a:avLst/>
              <a:gdLst>
                <a:gd name="connsiteX0" fmla="*/ 122048 w 122047"/>
                <a:gd name="connsiteY0" fmla="*/ 74692 h 108527"/>
                <a:gd name="connsiteX1" fmla="*/ 122048 w 122047"/>
                <a:gd name="connsiteY1" fmla="*/ 6384 h 108527"/>
                <a:gd name="connsiteX2" fmla="*/ 115658 w 122047"/>
                <a:gd name="connsiteY2" fmla="*/ 0 h 108527"/>
                <a:gd name="connsiteX3" fmla="*/ 6390 w 122047"/>
                <a:gd name="connsiteY3" fmla="*/ 0 h 108527"/>
                <a:gd name="connsiteX4" fmla="*/ 0 w 122047"/>
                <a:gd name="connsiteY4" fmla="*/ 6384 h 108527"/>
                <a:gd name="connsiteX5" fmla="*/ 0 w 122047"/>
                <a:gd name="connsiteY5" fmla="*/ 74692 h 108527"/>
                <a:gd name="connsiteX6" fmla="*/ 6390 w 122047"/>
                <a:gd name="connsiteY6" fmla="*/ 81076 h 108527"/>
                <a:gd name="connsiteX7" fmla="*/ 20448 w 122047"/>
                <a:gd name="connsiteY7" fmla="*/ 81076 h 108527"/>
                <a:gd name="connsiteX8" fmla="*/ 20448 w 122047"/>
                <a:gd name="connsiteY8" fmla="*/ 102144 h 108527"/>
                <a:gd name="connsiteX9" fmla="*/ 24282 w 122047"/>
                <a:gd name="connsiteY9" fmla="*/ 107889 h 108527"/>
                <a:gd name="connsiteX10" fmla="*/ 26838 w 122047"/>
                <a:gd name="connsiteY10" fmla="*/ 108528 h 108527"/>
                <a:gd name="connsiteX11" fmla="*/ 31311 w 122047"/>
                <a:gd name="connsiteY11" fmla="*/ 106612 h 108527"/>
                <a:gd name="connsiteX12" fmla="*/ 56870 w 122047"/>
                <a:gd name="connsiteY12" fmla="*/ 81076 h 108527"/>
                <a:gd name="connsiteX13" fmla="*/ 115658 w 122047"/>
                <a:gd name="connsiteY13" fmla="*/ 81076 h 108527"/>
                <a:gd name="connsiteX14" fmla="*/ 122048 w 122047"/>
                <a:gd name="connsiteY14" fmla="*/ 74692 h 108527"/>
                <a:gd name="connsiteX15" fmla="*/ 109268 w 122047"/>
                <a:gd name="connsiteY15" fmla="*/ 68308 h 108527"/>
                <a:gd name="connsiteX16" fmla="*/ 54314 w 122047"/>
                <a:gd name="connsiteY16" fmla="*/ 68308 h 108527"/>
                <a:gd name="connsiteX17" fmla="*/ 49842 w 122047"/>
                <a:gd name="connsiteY17" fmla="*/ 70224 h 108527"/>
                <a:gd name="connsiteX18" fmla="*/ 33228 w 122047"/>
                <a:gd name="connsiteY18" fmla="*/ 86822 h 108527"/>
                <a:gd name="connsiteX19" fmla="*/ 33228 w 122047"/>
                <a:gd name="connsiteY19" fmla="*/ 74692 h 108527"/>
                <a:gd name="connsiteX20" fmla="*/ 26838 w 122047"/>
                <a:gd name="connsiteY20" fmla="*/ 68308 h 108527"/>
                <a:gd name="connsiteX21" fmla="*/ 12780 w 122047"/>
                <a:gd name="connsiteY21" fmla="*/ 68308 h 108527"/>
                <a:gd name="connsiteX22" fmla="*/ 12780 w 122047"/>
                <a:gd name="connsiteY22" fmla="*/ 12768 h 108527"/>
                <a:gd name="connsiteX23" fmla="*/ 109268 w 122047"/>
                <a:gd name="connsiteY23" fmla="*/ 12768 h 108527"/>
                <a:gd name="connsiteX24" fmla="*/ 109268 w 122047"/>
                <a:gd name="connsiteY24" fmla="*/ 68308 h 108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047" h="108527">
                  <a:moveTo>
                    <a:pt x="122048" y="74692"/>
                  </a:moveTo>
                  <a:lnTo>
                    <a:pt x="122048" y="6384"/>
                  </a:lnTo>
                  <a:cubicBezTo>
                    <a:pt x="122048" y="2554"/>
                    <a:pt x="119492" y="0"/>
                    <a:pt x="115658" y="0"/>
                  </a:cubicBezTo>
                  <a:lnTo>
                    <a:pt x="6390" y="0"/>
                  </a:lnTo>
                  <a:cubicBezTo>
                    <a:pt x="2556" y="0"/>
                    <a:pt x="0" y="2554"/>
                    <a:pt x="0" y="6384"/>
                  </a:cubicBezTo>
                  <a:lnTo>
                    <a:pt x="0" y="74692"/>
                  </a:lnTo>
                  <a:cubicBezTo>
                    <a:pt x="0" y="78523"/>
                    <a:pt x="2556" y="81076"/>
                    <a:pt x="6390" y="81076"/>
                  </a:cubicBezTo>
                  <a:lnTo>
                    <a:pt x="20448" y="81076"/>
                  </a:lnTo>
                  <a:lnTo>
                    <a:pt x="20448" y="102144"/>
                  </a:lnTo>
                  <a:cubicBezTo>
                    <a:pt x="20448" y="104697"/>
                    <a:pt x="21726" y="107251"/>
                    <a:pt x="24282" y="107889"/>
                  </a:cubicBezTo>
                  <a:cubicBezTo>
                    <a:pt x="24921" y="108528"/>
                    <a:pt x="26199" y="108528"/>
                    <a:pt x="26838" y="108528"/>
                  </a:cubicBezTo>
                  <a:cubicBezTo>
                    <a:pt x="28755" y="108528"/>
                    <a:pt x="30033" y="107889"/>
                    <a:pt x="31311" y="106612"/>
                  </a:cubicBezTo>
                  <a:lnTo>
                    <a:pt x="56870" y="81076"/>
                  </a:lnTo>
                  <a:lnTo>
                    <a:pt x="115658" y="81076"/>
                  </a:lnTo>
                  <a:cubicBezTo>
                    <a:pt x="119492" y="81076"/>
                    <a:pt x="122048" y="78523"/>
                    <a:pt x="122048" y="74692"/>
                  </a:cubicBezTo>
                  <a:close/>
                  <a:moveTo>
                    <a:pt x="109268" y="68308"/>
                  </a:moveTo>
                  <a:lnTo>
                    <a:pt x="54314" y="68308"/>
                  </a:lnTo>
                  <a:cubicBezTo>
                    <a:pt x="52398" y="68308"/>
                    <a:pt x="51119" y="68947"/>
                    <a:pt x="49842" y="70224"/>
                  </a:cubicBezTo>
                  <a:lnTo>
                    <a:pt x="33228" y="86822"/>
                  </a:lnTo>
                  <a:lnTo>
                    <a:pt x="33228" y="74692"/>
                  </a:lnTo>
                  <a:cubicBezTo>
                    <a:pt x="33228" y="70862"/>
                    <a:pt x="30672" y="68308"/>
                    <a:pt x="26838" y="68308"/>
                  </a:cubicBezTo>
                  <a:lnTo>
                    <a:pt x="12780" y="68308"/>
                  </a:lnTo>
                  <a:lnTo>
                    <a:pt x="12780" y="12768"/>
                  </a:lnTo>
                  <a:lnTo>
                    <a:pt x="109268" y="12768"/>
                  </a:lnTo>
                  <a:lnTo>
                    <a:pt x="109268" y="68308"/>
                  </a:lnTo>
                  <a:close/>
                </a:path>
              </a:pathLst>
            </a:custGeom>
            <a:grpFill/>
            <a:ln w="6390" cap="flat">
              <a:noFill/>
              <a:prstDash val="solid"/>
              <a:miter/>
            </a:ln>
          </p:spPr>
          <p:txBody>
            <a:bodyPr rtlCol="0" anchor="ctr"/>
            <a:lstStyle/>
            <a:p>
              <a:endParaRPr lang="en-US"/>
            </a:p>
          </p:txBody>
        </p:sp>
        <p:sp>
          <p:nvSpPr>
            <p:cNvPr id="91" name="Graphic 4">
              <a:extLst>
                <a:ext uri="{FF2B5EF4-FFF2-40B4-BE49-F238E27FC236}">
                  <a16:creationId xmlns:a16="http://schemas.microsoft.com/office/drawing/2014/main" id="{9898E30A-A362-AAEE-640D-4B34D7880215}"/>
                </a:ext>
              </a:extLst>
            </p:cNvPr>
            <p:cNvSpPr/>
            <p:nvPr/>
          </p:nvSpPr>
          <p:spPr>
            <a:xfrm>
              <a:off x="1675441" y="2032822"/>
              <a:ext cx="122686" cy="122572"/>
            </a:xfrm>
            <a:custGeom>
              <a:avLst/>
              <a:gdLst>
                <a:gd name="connsiteX0" fmla="*/ 116297 w 122686"/>
                <a:gd name="connsiteY0" fmla="*/ 0 h 122572"/>
                <a:gd name="connsiteX1" fmla="*/ 61343 w 122686"/>
                <a:gd name="connsiteY1" fmla="*/ 0 h 122572"/>
                <a:gd name="connsiteX2" fmla="*/ 54953 w 122686"/>
                <a:gd name="connsiteY2" fmla="*/ 6384 h 122572"/>
                <a:gd name="connsiteX3" fmla="*/ 61343 w 122686"/>
                <a:gd name="connsiteY3" fmla="*/ 12768 h 122572"/>
                <a:gd name="connsiteX4" fmla="*/ 109907 w 122686"/>
                <a:gd name="connsiteY4" fmla="*/ 12768 h 122572"/>
                <a:gd name="connsiteX5" fmla="*/ 109907 w 122686"/>
                <a:gd name="connsiteY5" fmla="*/ 82354 h 122572"/>
                <a:gd name="connsiteX6" fmla="*/ 88820 w 122686"/>
                <a:gd name="connsiteY6" fmla="*/ 82354 h 122572"/>
                <a:gd name="connsiteX7" fmla="*/ 82430 w 122686"/>
                <a:gd name="connsiteY7" fmla="*/ 88738 h 122572"/>
                <a:gd name="connsiteX8" fmla="*/ 82430 w 122686"/>
                <a:gd name="connsiteY8" fmla="*/ 100867 h 122572"/>
                <a:gd name="connsiteX9" fmla="*/ 65816 w 122686"/>
                <a:gd name="connsiteY9" fmla="*/ 84269 h 122572"/>
                <a:gd name="connsiteX10" fmla="*/ 61343 w 122686"/>
                <a:gd name="connsiteY10" fmla="*/ 82354 h 122572"/>
                <a:gd name="connsiteX11" fmla="*/ 12780 w 122686"/>
                <a:gd name="connsiteY11" fmla="*/ 82354 h 122572"/>
                <a:gd name="connsiteX12" fmla="*/ 12780 w 122686"/>
                <a:gd name="connsiteY12" fmla="*/ 47880 h 122572"/>
                <a:gd name="connsiteX13" fmla="*/ 6390 w 122686"/>
                <a:gd name="connsiteY13" fmla="*/ 41496 h 122572"/>
                <a:gd name="connsiteX14" fmla="*/ 0 w 122686"/>
                <a:gd name="connsiteY14" fmla="*/ 47880 h 122572"/>
                <a:gd name="connsiteX15" fmla="*/ 0 w 122686"/>
                <a:gd name="connsiteY15" fmla="*/ 88738 h 122572"/>
                <a:gd name="connsiteX16" fmla="*/ 6390 w 122686"/>
                <a:gd name="connsiteY16" fmla="*/ 95121 h 122572"/>
                <a:gd name="connsiteX17" fmla="*/ 58787 w 122686"/>
                <a:gd name="connsiteY17" fmla="*/ 95121 h 122572"/>
                <a:gd name="connsiteX18" fmla="*/ 84347 w 122686"/>
                <a:gd name="connsiteY18" fmla="*/ 120657 h 122572"/>
                <a:gd name="connsiteX19" fmla="*/ 88820 w 122686"/>
                <a:gd name="connsiteY19" fmla="*/ 122573 h 122572"/>
                <a:gd name="connsiteX20" fmla="*/ 91376 w 122686"/>
                <a:gd name="connsiteY20" fmla="*/ 121934 h 122572"/>
                <a:gd name="connsiteX21" fmla="*/ 95210 w 122686"/>
                <a:gd name="connsiteY21" fmla="*/ 116189 h 122572"/>
                <a:gd name="connsiteX22" fmla="*/ 95210 w 122686"/>
                <a:gd name="connsiteY22" fmla="*/ 95121 h 122572"/>
                <a:gd name="connsiteX23" fmla="*/ 116297 w 122686"/>
                <a:gd name="connsiteY23" fmla="*/ 95121 h 122572"/>
                <a:gd name="connsiteX24" fmla="*/ 122687 w 122686"/>
                <a:gd name="connsiteY24" fmla="*/ 88738 h 122572"/>
                <a:gd name="connsiteX25" fmla="*/ 122687 w 122686"/>
                <a:gd name="connsiteY25" fmla="*/ 6384 h 122572"/>
                <a:gd name="connsiteX26" fmla="*/ 116297 w 122686"/>
                <a:gd name="connsiteY26" fmla="*/ 0 h 12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2686" h="122572">
                  <a:moveTo>
                    <a:pt x="116297" y="0"/>
                  </a:moveTo>
                  <a:lnTo>
                    <a:pt x="61343" y="0"/>
                  </a:lnTo>
                  <a:cubicBezTo>
                    <a:pt x="57509" y="0"/>
                    <a:pt x="54953" y="2554"/>
                    <a:pt x="54953" y="6384"/>
                  </a:cubicBezTo>
                  <a:cubicBezTo>
                    <a:pt x="54953" y="10214"/>
                    <a:pt x="57509" y="12768"/>
                    <a:pt x="61343" y="12768"/>
                  </a:cubicBezTo>
                  <a:lnTo>
                    <a:pt x="109907" y="12768"/>
                  </a:lnTo>
                  <a:lnTo>
                    <a:pt x="109907" y="82354"/>
                  </a:lnTo>
                  <a:lnTo>
                    <a:pt x="88820" y="82354"/>
                  </a:lnTo>
                  <a:cubicBezTo>
                    <a:pt x="84986" y="82354"/>
                    <a:pt x="82430" y="84907"/>
                    <a:pt x="82430" y="88738"/>
                  </a:cubicBezTo>
                  <a:lnTo>
                    <a:pt x="82430" y="100867"/>
                  </a:lnTo>
                  <a:lnTo>
                    <a:pt x="65816" y="84269"/>
                  </a:lnTo>
                  <a:cubicBezTo>
                    <a:pt x="64538" y="82992"/>
                    <a:pt x="63260" y="82354"/>
                    <a:pt x="61343" y="82354"/>
                  </a:cubicBezTo>
                  <a:lnTo>
                    <a:pt x="12780" y="82354"/>
                  </a:lnTo>
                  <a:lnTo>
                    <a:pt x="12780" y="47880"/>
                  </a:lnTo>
                  <a:cubicBezTo>
                    <a:pt x="12780" y="44050"/>
                    <a:pt x="10224" y="41496"/>
                    <a:pt x="6390" y="41496"/>
                  </a:cubicBezTo>
                  <a:cubicBezTo>
                    <a:pt x="2556" y="41496"/>
                    <a:pt x="0" y="44050"/>
                    <a:pt x="0" y="47880"/>
                  </a:cubicBezTo>
                  <a:lnTo>
                    <a:pt x="0" y="88738"/>
                  </a:lnTo>
                  <a:cubicBezTo>
                    <a:pt x="0" y="92568"/>
                    <a:pt x="2556" y="95121"/>
                    <a:pt x="6390" y="95121"/>
                  </a:cubicBezTo>
                  <a:lnTo>
                    <a:pt x="58787" y="95121"/>
                  </a:lnTo>
                  <a:lnTo>
                    <a:pt x="84347" y="120657"/>
                  </a:lnTo>
                  <a:cubicBezTo>
                    <a:pt x="85625" y="121934"/>
                    <a:pt x="86903" y="122573"/>
                    <a:pt x="88820" y="122573"/>
                  </a:cubicBezTo>
                  <a:cubicBezTo>
                    <a:pt x="89459" y="122573"/>
                    <a:pt x="90737" y="122573"/>
                    <a:pt x="91376" y="121934"/>
                  </a:cubicBezTo>
                  <a:cubicBezTo>
                    <a:pt x="93932" y="120657"/>
                    <a:pt x="95210" y="118742"/>
                    <a:pt x="95210" y="116189"/>
                  </a:cubicBezTo>
                  <a:lnTo>
                    <a:pt x="95210" y="95121"/>
                  </a:lnTo>
                  <a:lnTo>
                    <a:pt x="116297" y="95121"/>
                  </a:lnTo>
                  <a:cubicBezTo>
                    <a:pt x="120131" y="95121"/>
                    <a:pt x="122687" y="92568"/>
                    <a:pt x="122687" y="88738"/>
                  </a:cubicBezTo>
                  <a:lnTo>
                    <a:pt x="122687" y="6384"/>
                  </a:lnTo>
                  <a:cubicBezTo>
                    <a:pt x="122687" y="3192"/>
                    <a:pt x="119492" y="0"/>
                    <a:pt x="116297" y="0"/>
                  </a:cubicBezTo>
                  <a:close/>
                </a:path>
              </a:pathLst>
            </a:custGeom>
            <a:grpFill/>
            <a:ln w="6390" cap="flat">
              <a:noFill/>
              <a:prstDash val="solid"/>
              <a:miter/>
            </a:ln>
          </p:spPr>
          <p:txBody>
            <a:bodyPr rtlCol="0" anchor="ctr"/>
            <a:lstStyle/>
            <a:p>
              <a:endParaRPr lang="en-US"/>
            </a:p>
          </p:txBody>
        </p:sp>
      </p:grpSp>
      <p:sp>
        <p:nvSpPr>
          <p:cNvPr id="92" name="Graphic 1100">
            <a:extLst>
              <a:ext uri="{FF2B5EF4-FFF2-40B4-BE49-F238E27FC236}">
                <a16:creationId xmlns:a16="http://schemas.microsoft.com/office/drawing/2014/main" id="{5CB51FA3-0E9D-406F-FB0C-E9FE26B3AA0E}"/>
              </a:ext>
            </a:extLst>
          </p:cNvPr>
          <p:cNvSpPr/>
          <p:nvPr/>
        </p:nvSpPr>
        <p:spPr>
          <a:xfrm>
            <a:off x="8389915" y="3406977"/>
            <a:ext cx="372824" cy="357569"/>
          </a:xfrm>
          <a:custGeom>
            <a:avLst/>
            <a:gdLst>
              <a:gd name="connsiteX0" fmla="*/ 217122 w 223511"/>
              <a:gd name="connsiteY0" fmla="*/ 174147 h 214366"/>
              <a:gd name="connsiteX1" fmla="*/ 190923 w 223511"/>
              <a:gd name="connsiteY1" fmla="*/ 174147 h 214366"/>
              <a:gd name="connsiteX2" fmla="*/ 174309 w 223511"/>
              <a:gd name="connsiteY2" fmla="*/ 23485 h 214366"/>
              <a:gd name="connsiteX3" fmla="*/ 23507 w 223511"/>
              <a:gd name="connsiteY3" fmla="*/ 40084 h 214366"/>
              <a:gd name="connsiteX4" fmla="*/ 40121 w 223511"/>
              <a:gd name="connsiteY4" fmla="*/ 190745 h 214366"/>
              <a:gd name="connsiteX5" fmla="*/ 107215 w 223511"/>
              <a:gd name="connsiteY5" fmla="*/ 214366 h 214366"/>
              <a:gd name="connsiteX6" fmla="*/ 113605 w 223511"/>
              <a:gd name="connsiteY6" fmla="*/ 207982 h 214366"/>
              <a:gd name="connsiteX7" fmla="*/ 107215 w 223511"/>
              <a:gd name="connsiteY7" fmla="*/ 201598 h 214366"/>
              <a:gd name="connsiteX8" fmla="*/ 12005 w 223511"/>
              <a:gd name="connsiteY8" fmla="*/ 107754 h 214366"/>
              <a:gd name="connsiteX9" fmla="*/ 105937 w 223511"/>
              <a:gd name="connsiteY9" fmla="*/ 12633 h 214366"/>
              <a:gd name="connsiteX10" fmla="*/ 201147 w 223511"/>
              <a:gd name="connsiteY10" fmla="*/ 106477 h 214366"/>
              <a:gd name="connsiteX11" fmla="*/ 177504 w 223511"/>
              <a:gd name="connsiteY11" fmla="*/ 169678 h 214366"/>
              <a:gd name="connsiteX12" fmla="*/ 177504 w 223511"/>
              <a:gd name="connsiteY12" fmla="*/ 134566 h 214366"/>
              <a:gd name="connsiteX13" fmla="*/ 171114 w 223511"/>
              <a:gd name="connsiteY13" fmla="*/ 128182 h 214366"/>
              <a:gd name="connsiteX14" fmla="*/ 164725 w 223511"/>
              <a:gd name="connsiteY14" fmla="*/ 134566 h 214366"/>
              <a:gd name="connsiteX15" fmla="*/ 164725 w 223511"/>
              <a:gd name="connsiteY15" fmla="*/ 180531 h 214366"/>
              <a:gd name="connsiteX16" fmla="*/ 171114 w 223511"/>
              <a:gd name="connsiteY16" fmla="*/ 186915 h 214366"/>
              <a:gd name="connsiteX17" fmla="*/ 217122 w 223511"/>
              <a:gd name="connsiteY17" fmla="*/ 186915 h 214366"/>
              <a:gd name="connsiteX18" fmla="*/ 223512 w 223511"/>
              <a:gd name="connsiteY18" fmla="*/ 180531 h 214366"/>
              <a:gd name="connsiteX19" fmla="*/ 217122 w 223511"/>
              <a:gd name="connsiteY19" fmla="*/ 174147 h 214366"/>
              <a:gd name="connsiteX20" fmla="*/ 217122 w 223511"/>
              <a:gd name="connsiteY20" fmla="*/ 174147 h 21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3511" h="214366">
                <a:moveTo>
                  <a:pt x="217122" y="174147"/>
                </a:moveTo>
                <a:lnTo>
                  <a:pt x="190923" y="174147"/>
                </a:lnTo>
                <a:cubicBezTo>
                  <a:pt x="227985" y="128182"/>
                  <a:pt x="220317" y="60512"/>
                  <a:pt x="174309" y="23485"/>
                </a:cubicBezTo>
                <a:cubicBezTo>
                  <a:pt x="128302" y="-13542"/>
                  <a:pt x="60568" y="-5881"/>
                  <a:pt x="23507" y="40084"/>
                </a:cubicBezTo>
                <a:cubicBezTo>
                  <a:pt x="-13555" y="86048"/>
                  <a:pt x="-5886" y="153718"/>
                  <a:pt x="40121" y="190745"/>
                </a:cubicBezTo>
                <a:cubicBezTo>
                  <a:pt x="59291" y="206067"/>
                  <a:pt x="82933" y="214366"/>
                  <a:pt x="107215" y="214366"/>
                </a:cubicBezTo>
                <a:cubicBezTo>
                  <a:pt x="111049" y="214366"/>
                  <a:pt x="113605" y="211812"/>
                  <a:pt x="113605" y="207982"/>
                </a:cubicBezTo>
                <a:cubicBezTo>
                  <a:pt x="113605" y="204152"/>
                  <a:pt x="111049" y="201598"/>
                  <a:pt x="107215" y="201598"/>
                </a:cubicBezTo>
                <a:cubicBezTo>
                  <a:pt x="54818" y="202236"/>
                  <a:pt x="12005" y="160102"/>
                  <a:pt x="12005" y="107754"/>
                </a:cubicBezTo>
                <a:cubicBezTo>
                  <a:pt x="11366" y="55405"/>
                  <a:pt x="53539" y="12633"/>
                  <a:pt x="105937" y="12633"/>
                </a:cubicBezTo>
                <a:cubicBezTo>
                  <a:pt x="158335" y="11994"/>
                  <a:pt x="201147" y="54128"/>
                  <a:pt x="201147" y="106477"/>
                </a:cubicBezTo>
                <a:cubicBezTo>
                  <a:pt x="201147" y="130098"/>
                  <a:pt x="192840" y="152441"/>
                  <a:pt x="177504" y="169678"/>
                </a:cubicBezTo>
                <a:lnTo>
                  <a:pt x="177504" y="134566"/>
                </a:lnTo>
                <a:cubicBezTo>
                  <a:pt x="177504" y="130736"/>
                  <a:pt x="174948" y="128182"/>
                  <a:pt x="171114" y="128182"/>
                </a:cubicBezTo>
                <a:cubicBezTo>
                  <a:pt x="167281" y="128182"/>
                  <a:pt x="164725" y="130736"/>
                  <a:pt x="164725" y="134566"/>
                </a:cubicBezTo>
                <a:lnTo>
                  <a:pt x="164725" y="180531"/>
                </a:lnTo>
                <a:cubicBezTo>
                  <a:pt x="164725" y="184361"/>
                  <a:pt x="167281" y="186915"/>
                  <a:pt x="171114" y="186915"/>
                </a:cubicBezTo>
                <a:lnTo>
                  <a:pt x="217122" y="186915"/>
                </a:lnTo>
                <a:cubicBezTo>
                  <a:pt x="220956" y="186915"/>
                  <a:pt x="223512" y="184361"/>
                  <a:pt x="223512" y="180531"/>
                </a:cubicBezTo>
                <a:cubicBezTo>
                  <a:pt x="223512" y="176701"/>
                  <a:pt x="220317" y="174147"/>
                  <a:pt x="217122" y="174147"/>
                </a:cubicBezTo>
                <a:lnTo>
                  <a:pt x="217122" y="174147"/>
                </a:lnTo>
                <a:close/>
              </a:path>
            </a:pathLst>
          </a:custGeom>
          <a:solidFill>
            <a:srgbClr val="000000"/>
          </a:solidFill>
          <a:ln w="6390" cap="flat">
            <a:noFill/>
            <a:prstDash val="solid"/>
            <a:miter/>
          </a:ln>
        </p:spPr>
        <p:txBody>
          <a:bodyPr rtlCol="0" anchor="ctr"/>
          <a:lstStyle/>
          <a:p>
            <a:endParaRPr lang="en-US"/>
          </a:p>
        </p:txBody>
      </p:sp>
      <p:sp>
        <p:nvSpPr>
          <p:cNvPr id="49" name="TextBox 48">
            <a:extLst>
              <a:ext uri="{FF2B5EF4-FFF2-40B4-BE49-F238E27FC236}">
                <a16:creationId xmlns:a16="http://schemas.microsoft.com/office/drawing/2014/main" id="{1CE33DE3-7E7D-4F10-B885-FC6F01DDFD78}"/>
              </a:ext>
            </a:extLst>
          </p:cNvPr>
          <p:cNvSpPr txBox="1"/>
          <p:nvPr/>
        </p:nvSpPr>
        <p:spPr>
          <a:xfrm>
            <a:off x="451105" y="1017307"/>
            <a:ext cx="5486400" cy="369332"/>
          </a:xfrm>
          <a:prstGeom prst="rect">
            <a:avLst/>
          </a:prstGeom>
          <a:noFill/>
        </p:spPr>
        <p:txBody>
          <a:bodyPr wrap="square">
            <a:spAutoFit/>
          </a:bodyPr>
          <a:lstStyle/>
          <a:p>
            <a:pPr algn="ctr"/>
            <a:r>
              <a:rPr kumimoji="0" lang="en-US" sz="1800" b="1" i="0" u="none" strike="noStrike" kern="1200" cap="none" spc="300" normalizeH="0" baseline="0" noProof="0" dirty="0">
                <a:ln>
                  <a:noFill/>
                </a:ln>
                <a:solidFill>
                  <a:srgbClr val="86BC25"/>
                </a:solidFill>
                <a:effectLst/>
                <a:uLnTx/>
                <a:uFillTx/>
                <a:latin typeface="+mj-lt"/>
                <a:ea typeface="+mn-ea"/>
                <a:cs typeface="+mn-cs"/>
              </a:rPr>
              <a:t>PROACTIVE</a:t>
            </a:r>
            <a:endParaRPr lang="en-GB" spc="300" dirty="0"/>
          </a:p>
        </p:txBody>
      </p:sp>
      <p:sp>
        <p:nvSpPr>
          <p:cNvPr id="55" name="TextBox 54">
            <a:extLst>
              <a:ext uri="{FF2B5EF4-FFF2-40B4-BE49-F238E27FC236}">
                <a16:creationId xmlns:a16="http://schemas.microsoft.com/office/drawing/2014/main" id="{D61B6258-CFFD-4D32-B5AB-092EB9FC669F}"/>
              </a:ext>
            </a:extLst>
          </p:cNvPr>
          <p:cNvSpPr txBox="1"/>
          <p:nvPr/>
        </p:nvSpPr>
        <p:spPr>
          <a:xfrm>
            <a:off x="6248401" y="1017307"/>
            <a:ext cx="5486400" cy="369332"/>
          </a:xfrm>
          <a:prstGeom prst="rect">
            <a:avLst/>
          </a:prstGeom>
          <a:noFill/>
        </p:spPr>
        <p:txBody>
          <a:bodyPr wrap="square">
            <a:spAutoFit/>
          </a:bodyPr>
          <a:lstStyle/>
          <a:p>
            <a:pPr algn="ctr"/>
            <a:r>
              <a:rPr kumimoji="0" lang="en-US" sz="1800" b="1" i="0" u="none" strike="noStrike" kern="1200" cap="none" spc="300" normalizeH="0" baseline="0" noProof="0" dirty="0">
                <a:ln>
                  <a:noFill/>
                </a:ln>
                <a:solidFill>
                  <a:schemeClr val="accent6"/>
                </a:solidFill>
                <a:effectLst/>
                <a:uLnTx/>
                <a:uFillTx/>
                <a:latin typeface="+mj-lt"/>
                <a:ea typeface="+mn-ea"/>
                <a:cs typeface="+mn-cs"/>
              </a:rPr>
              <a:t>RESPOND &amp; RECOVER</a:t>
            </a:r>
            <a:endParaRPr lang="en-GB" spc="300" dirty="0">
              <a:solidFill>
                <a:schemeClr val="accent6"/>
              </a:solidFill>
            </a:endParaRPr>
          </a:p>
        </p:txBody>
      </p:sp>
      <p:cxnSp>
        <p:nvCxnSpPr>
          <p:cNvPr id="7" name="Straight Connector 6">
            <a:extLst>
              <a:ext uri="{FF2B5EF4-FFF2-40B4-BE49-F238E27FC236}">
                <a16:creationId xmlns:a16="http://schemas.microsoft.com/office/drawing/2014/main" id="{EA2C5062-3C89-4403-8C51-917775EBB3E4}"/>
              </a:ext>
            </a:extLst>
          </p:cNvPr>
          <p:cNvCxnSpPr>
            <a:cxnSpLocks/>
          </p:cNvCxnSpPr>
          <p:nvPr/>
        </p:nvCxnSpPr>
        <p:spPr>
          <a:xfrm>
            <a:off x="451105" y="1392473"/>
            <a:ext cx="548640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3447132-8E5B-445D-8FBF-8099E996BA8A}"/>
              </a:ext>
            </a:extLst>
          </p:cNvPr>
          <p:cNvCxnSpPr>
            <a:cxnSpLocks/>
          </p:cNvCxnSpPr>
          <p:nvPr/>
        </p:nvCxnSpPr>
        <p:spPr>
          <a:xfrm>
            <a:off x="6248401" y="1392473"/>
            <a:ext cx="5486400" cy="0"/>
          </a:xfrm>
          <a:prstGeom prst="line">
            <a:avLst/>
          </a:prstGeom>
          <a:ln>
            <a:solidFill>
              <a:srgbClr val="A0DCFF"/>
            </a:solidFill>
          </a:ln>
        </p:spPr>
        <p:style>
          <a:lnRef idx="1">
            <a:schemeClr val="accent1"/>
          </a:lnRef>
          <a:fillRef idx="0">
            <a:schemeClr val="accent1"/>
          </a:fillRef>
          <a:effectRef idx="0">
            <a:schemeClr val="accent1"/>
          </a:effectRef>
          <a:fontRef idx="minor">
            <a:schemeClr val="tx1"/>
          </a:fontRef>
        </p:style>
      </p:cxnSp>
      <p:sp>
        <p:nvSpPr>
          <p:cNvPr id="2" name="Title 3">
            <a:extLst>
              <a:ext uri="{FF2B5EF4-FFF2-40B4-BE49-F238E27FC236}">
                <a16:creationId xmlns:a16="http://schemas.microsoft.com/office/drawing/2014/main" id="{EC501B89-C969-B064-204D-406CCCE5B22A}"/>
              </a:ext>
            </a:extLst>
          </p:cNvPr>
          <p:cNvSpPr txBox="1">
            <a:spLocks/>
          </p:cNvSpPr>
          <p:nvPr/>
        </p:nvSpPr>
        <p:spPr bwMode="gray">
          <a:xfrm>
            <a:off x="501651" y="307341"/>
            <a:ext cx="11188700" cy="439317"/>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j-lt"/>
                <a:ea typeface="+mj-ea"/>
                <a:cs typeface="Calibri Light" panose="020F0302020204030204" pitchFamily="34" charset="0"/>
              </a:defRPr>
            </a:lvl1pPr>
          </a:lstStyle>
          <a:p>
            <a:r>
              <a:rPr lang="en-GB" sz="2000" b="1" dirty="0"/>
              <a:t>Proven framework for cyber resilience planning</a:t>
            </a:r>
          </a:p>
        </p:txBody>
      </p:sp>
      <p:sp>
        <p:nvSpPr>
          <p:cNvPr id="8" name="Rectangle 7">
            <a:extLst>
              <a:ext uri="{FF2B5EF4-FFF2-40B4-BE49-F238E27FC236}">
                <a16:creationId xmlns:a16="http://schemas.microsoft.com/office/drawing/2014/main" id="{6A557143-D2E9-4EDC-2491-AF14FD3F053D}"/>
              </a:ext>
            </a:extLst>
          </p:cNvPr>
          <p:cNvSpPr/>
          <p:nvPr/>
        </p:nvSpPr>
        <p:spPr bwMode="gray">
          <a:xfrm>
            <a:off x="451994" y="3009167"/>
            <a:ext cx="5484621" cy="3141213"/>
          </a:xfrm>
          <a:prstGeom prst="rect">
            <a:avLst/>
          </a:prstGeom>
          <a:no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400" b="1" dirty="0">
              <a:solidFill>
                <a:schemeClr val="bg1"/>
              </a:solidFill>
            </a:endParaRPr>
          </a:p>
        </p:txBody>
      </p:sp>
    </p:spTree>
    <p:extLst>
      <p:ext uri="{BB962C8B-B14F-4D97-AF65-F5344CB8AC3E}">
        <p14:creationId xmlns:p14="http://schemas.microsoft.com/office/powerpoint/2010/main" val="3024410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custData r:id="rId1"/>
      <p:custData r:id="rId2"/>
    </p:custDataLst>
    <p:extLst>
      <p:ext uri="{BB962C8B-B14F-4D97-AF65-F5344CB8AC3E}">
        <p14:creationId xmlns:p14="http://schemas.microsoft.com/office/powerpoint/2010/main" val="217117035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EMPLAFYSLIDEID" val="637279912361484038"/>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vmeruva\AppData\Local\Temp\Templafy\PowerPointVsto\Assets\shutterstock_406940794_lo (2).png"/>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2.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w="6350">
          <a:solidFill>
            <a:srgbClr val="D0D0CE"/>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600"/>
          </a:spcBef>
          <a:buSzPct val="100000"/>
          <a:defRPr sz="1000"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A98C2301746F8498110C13ABFD18040" ma:contentTypeVersion="16" ma:contentTypeDescription="Create a new document." ma:contentTypeScope="" ma:versionID="9efd373ab3ef04fc93a735566c7a2abc">
  <xsd:schema xmlns:xsd="http://www.w3.org/2001/XMLSchema" xmlns:xs="http://www.w3.org/2001/XMLSchema" xmlns:p="http://schemas.microsoft.com/office/2006/metadata/properties" xmlns:ns2="1111f6c7-5c6e-467a-b4b0-f732dcd1af00" xmlns:ns3="812d1255-cffc-4d21-8054-ea0db9138119" targetNamespace="http://schemas.microsoft.com/office/2006/metadata/properties" ma:root="true" ma:fieldsID="819480b40988b8a5f30379529715362b" ns2:_="" ns3:_="">
    <xsd:import namespace="1111f6c7-5c6e-467a-b4b0-f732dcd1af00"/>
    <xsd:import namespace="812d1255-cffc-4d21-8054-ea0db913811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11f6c7-5c6e-467a-b4b0-f732dcd1af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12d1255-cffc-4d21-8054-ea0db913811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4cdcc857-1dac-4c4d-8082-5396a9170f6e}" ma:internalName="TaxCatchAll" ma:showField="CatchAllData" ma:web="812d1255-cffc-4d21-8054-ea0db913811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SlideTemplateConfiguration><![CDATA[{"slideVersion":1,"isValidatorEnabled":false,"isLocked":false,"elementsMetadata":[],"slideId":"638137026980935120","enableDocumentContentUpdater":false,"version":"2.0"}]]></TemplafySlideTemplate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1111f6c7-5c6e-467a-b4b0-f732dcd1af00">
      <Terms xmlns="http://schemas.microsoft.com/office/infopath/2007/PartnerControls"/>
    </lcf76f155ced4ddcb4097134ff3c332f>
    <TaxCatchAll xmlns="812d1255-cffc-4d21-8054-ea0db9138119" xsi:nil="true"/>
  </documentManagement>
</p:properties>
</file>

<file path=customXml/item5.xml><?xml version="1.0" encoding="utf-8"?>
<TemplafySlideFormConfiguration><![CDATA[{"formFields":[],"formDataEntries":[]}]]></TemplafySlideFormConfiguration>
</file>

<file path=customXml/item6.xml><?xml version="1.0" encoding="utf-8"?>
<TemplafyTemplateConfiguration><![CDATA[{"elementsMetadata":[{"type":"shape","id":"868df5ac-7443-4a35-8dcc-2257df4af6cb","elementConfiguration":{"binding":"{{IfElse(Equals(Form.InternalExternal.Name, \"External\"), Switch(UserProfile.DocumentLanguage.Language, \"en-GB\", UserProfile.LegalEntity.PowerPoint_External_en-GB, \"fr-FR\", UserProfile.LegalEntity.PowerPoint_External_fr-FR, \"de-DE\", UserProfile.LegalEntity.PowerPoint_External_de-DE, \"it-IT\", UserProfile.LegalEntity.PowerPoint_External_it-IT, UserProfile.LegalEntity.PowerPoint_External_en-GB), Switch(UserProfile.DocumentLanguage.Language, \"en-GB\", UserProfile.LegalEntity.DisclaimerInternal_Internal_en-GB, \"fr-FR\", UserProfile.LegalEntity.DisclaimerInternal_Internal_fr-FR, \"de-DE\", UserProfile.LegalEntity.DisclaimerInternal_Internal_de-DE, \"it-IT\", UserProfile.LegalEntity.DisclaimerInternal_Internal_it-IT, UserProfile.LegalEntity.DisclaimerInternal_Internal_en-GB))}}\n{{StringJoin(\" \", \"©\", FormatDateTime(Now(), \"yyyy\"), Switch(UserProfile.DocumentLanguage.Language,\"en-GB\", UserProfile.LegalEntity.Copyright_en-GB, \"fr-FR\", UserProfile.LegalEntity.Copyright_fr-FR, \"de-DE\", UserProfile.LegalEntity.Copyright_de-DE, \"it-IT\", UserProfile.LegalEntity.Copyright_it-IT, UserProfile.LegalEntity.Copyright_en-GB))}}","visibility":"","type":"text","disableUpdates":false}},{"type":"shape","id":"480fe19e-4bd9-4d45-8687-556b9f9f14ab","elementConfiguration":{"inheritDimensions":"{{InheritDimensions.InheritNone}}","width":"6.35 cm","height":"","image":"{{UserProfile.Brand.PP_LogoWhite.Image}}","visibility":"","type":"image","disableUpdates":false}},{"type":"shape","id":"3288bd6f-0bd7-4629-917b-d2e500ae63eb","elementConfiguration":{"inheritDimensions":"{{InheritDimensions.InheritNone}}","width":"6.35 cm","height":"","image":"{{UserProfile.Brand.PP_LogoWhite.Image}}","visibility":"","type":"image","disableUpdates":false}},{"type":"shape","id":"7c4e37df-8ae5-4918-a53b-907a3f51617c","elementConfiguration":{"inheritDimensions":"{{InheritDimensions.InheritNone}}","width":"6.35 cm","height":"","image":"{{UserProfile.Brand.PP_LogoWhite.Image}}","visibility":"","type":"image","disableUpdates":false}},{"type":"shape","id":"030d02b5-b15d-433e-8151-1fc3c36a03c2","elementConfiguration":{"binding":"{{IfElse(Equals(Form.InternalExternal.Name, \"External\"), Switch(UserProfile.DocumentLanguage.Language, \"en-GB\", UserProfile.LegalEntity.PowerPoint_External_en-GB, \"fr-FR\", UserProfile.LegalEntity.PowerPoint_External_fr-FR, \"de-DE\", UserProfile.LegalEntity.PowerPoint_External_de-DE, \"it-IT\", UserProfile.LegalEntity.PowerPoint_External_it-IT, UserProfile.LegalEntity.PowerPoint_External_en-GB), Switch(UserProfile.DocumentLanguage.Language, \"en-GB\", UserProfile.LegalEntity.DisclaimerInternal_Internal_en-GB, \"fr-FR\", UserProfile.LegalEntity.DisclaimerInternal_Internal_fr-FR, \"de-DE\", UserProfile.LegalEntity.DisclaimerInternal_Internal_de-DE, \"it-IT\", UserProfile.LegalEntity.DisclaimerInternal_Internal_it-IT, UserProfile.LegalEntity.DisclaimerInternal_Internal_en-GB))}}\n{{StringJoin(\" \", \"©\", FormatDateTime(Now(), \"yyyy\"), Switch(UserProfile.DocumentLanguage.Language,\"en-GB\", UserProfile.LegalEntity.Copyright_en-GB, \"fr-FR\", UserProfile.LegalEntity.Copyright_fr-FR, \"de-DE\", UserProfile.LegalEntity.Copyright_de-DE, \"it-IT\", UserProfile.LegalEntity.Copyright_it-IT, UserProfile.LegalEntity.Copyright_en-GB))}}","visibility":"","type":"text","disableUpdates":false}},{"type":"shape","id":"3cbafa7e-3a6d-4bed-ba49-faff2393afbd","elementConfiguration":{"inheritDimensions":"{{InheritDimensions.InheritNone}}","width":"6.35 cm","height":"","image":"{{UserProfile.Brand.PP_LogoBlack.Image}}","visibility":"","type":"image","disableUpdates":false}},{"type":"shape","id":"20855b47-9c21-4501-b7b7-0956e0101a44","elementConfiguration":{"inheritDimensions":"{{InheritDimensions.InheritNone}}","width":"6.35 cm","height":"","image":"{{UserProfile.Brand.PP_LogoBlack.Image}}","visibility":"","type":"image","disableUpdates":false}}],"transformationConfigurations":[{"language":"{{DocumentLanguage}}","disableUpdates":false,"type":"proofingLanguage"}],"templateName":"Widescreen presentation (16-9)","templateDescription":"Widescreen presentation (16-9)","enableDocumentContentUpdater":true,"version":"2.0"}]]></TemplafyTemplateConfiguration>
</file>

<file path=customXml/item7.xml><?xml version="1.0" encoding="utf-8"?>
<TemplafyFormConfiguration><![CDATA[{"formFields":[{"distinct":true,"hideIfNoUserInteractionRequired":false,"required":true,"autoSelectFirstOption":false,"helpTexts":{"prefix":"","postfix":""},"spacing":{},"shareValue":false,"type":"dropDown","dataSourceName":"InternalExternal","dataSourceFieldName":"InternalExternal","name":"InternalExternal","label":"Internal/External"}],"formDataEntries":[{"name":"InternalExternal","value":"emytukPi8gM/oE3It++qXp6geVUccYZHImnUziphXNs="}]}]]></TemplafyFormConfiguration>
</file>

<file path=customXml/item8.xml><?xml version="1.0" encoding="utf-8"?>
<TemplafySlideTemplateConfiguration><![CDATA[{"slideVersion":1,"isValidatorEnabled":false,"isLocked":false,"elementsMetadata":[{"type":"shape","elementConfiguration":{"binding":"{{IfElse(Equals(Form.InternalExternal.Name, \"External\"), Switch(UserProfile.DocumentLanguage.Language, \"en-GB\", UserProfile.LegalEntity.PowerPoint_External_en-GB, \"fr-FR\", UserProfile.LegalEntity.PowerPoint_External_fr-FR, \"de-DE\", UserProfile.LegalEntity.PowerPoint_External_de-DE, \"it-IT\", UserProfile.LegalEntity.PowerPoint_External_it-IT, UserProfile.LegalEntity.PowerPoint_External_en-GB), Switch(UserProfile.DocumentLanguage.Language, \"en-GB\", UserProfile.LegalEntity.DisclaimerInternal_Internal_en-GB, \"fr-FR\", UserProfile.LegalEntity.DisclaimerInternal_Internal_fr-FR, \"de-DE\", UserProfile.LegalEntity.DisclaimerInternal_Internal_de-DE, \"it-IT\", UserProfile.LegalEntity.DisclaimerInternal_Internal_it-IT, UserProfile.LegalEntity.DisclaimerInternal_Internal_en-GB))}}\n{{StringJoin(\" \", \"©\", FormatDateTime(Now(), \"yyyy\"), Switch(UserProfile.DocumentLanguage.Language,\"en-GB\", UserProfile.LegalEntity.Copyright_en-GB, \"fr-FR\", UserProfile.LegalEntity.Copyright_fr-FR, \"de-DE\", UserProfile.LegalEntity.Copyright_de-DE, \"it-IT\", UserProfile.LegalEntity.Copyright_it-IT, UserProfile.LegalEntity.Copyright_en-GB))}}","visibility":"","type":"text","disableUpdates":false}},{"type":"shape","elementConfiguration":{"inheritDimensions":"{{InheritDimensions.InheritNone}}","width":"6.35 cm","height":"","image":"{{UserProfile.Brand.PP_LogoBlack.Image}}","visibility":"","type":"image","disableUpdates":false}}],"slideId":"638441350495770637","enableDocumentContentUpdater":false,"version":"2.0"}]]></TemplafySlideTemplateConfiguration>
</file>

<file path=customXml/item9.xml><?xml version="1.0" encoding="utf-8"?>
<TemplafySlideFormConfiguration><![CDATA[{"formFields":[{"distinct":true,"hideIfNoUserInteractionRequired":false,"required":true,"autoSelectFirstOption":false,"helpTexts":{"prefix":"","postfix":""},"spacing":{},"shareValue":false,"type":"dropDown","dataSourceName":"InternalExternal","dataSourceFieldName":"InternalExternal","name":"InternalExternal","label":"Internal/External"}],"formDataEntries":[]}]]></TemplafySlideFormConfiguration>
</file>

<file path=customXml/itemProps1.xml><?xml version="1.0" encoding="utf-8"?>
<ds:datastoreItem xmlns:ds="http://schemas.openxmlformats.org/officeDocument/2006/customXml" ds:itemID="{49909236-E7F7-4E01-B578-CBEDF039B9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11f6c7-5c6e-467a-b4b0-f732dcd1af00"/>
    <ds:schemaRef ds:uri="812d1255-cffc-4d21-8054-ea0db913811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9EF122-7DC0-4E58-81D0-C8CAB022E0A7}">
  <ds:schemaRefs/>
</ds:datastoreItem>
</file>

<file path=customXml/itemProps3.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4.xml><?xml version="1.0" encoding="utf-8"?>
<ds:datastoreItem xmlns:ds="http://schemas.openxmlformats.org/officeDocument/2006/customXml" ds:itemID="{BA05E49B-70B5-4FEC-89D5-F69F52BE5B81}">
  <ds:schemaRefs>
    <ds:schemaRef ds:uri="1111f6c7-5c6e-467a-b4b0-f732dcd1af00"/>
    <ds:schemaRef ds:uri="http://schemas.openxmlformats.org/package/2006/metadata/core-properties"/>
    <ds:schemaRef ds:uri="http://schemas.microsoft.com/office/infopath/2007/PartnerControls"/>
    <ds:schemaRef ds:uri="http://schemas.microsoft.com/office/2006/documentManagement/types"/>
    <ds:schemaRef ds:uri="http://purl.org/dc/dcmitype/"/>
    <ds:schemaRef ds:uri="http://schemas.microsoft.com/office/2006/metadata/properties"/>
    <ds:schemaRef ds:uri="http://www.w3.org/XML/1998/namespace"/>
    <ds:schemaRef ds:uri="http://purl.org/dc/elements/1.1/"/>
    <ds:schemaRef ds:uri="812d1255-cffc-4d21-8054-ea0db9138119"/>
    <ds:schemaRef ds:uri="http://purl.org/dc/terms/"/>
  </ds:schemaRefs>
</ds:datastoreItem>
</file>

<file path=customXml/itemProps5.xml><?xml version="1.0" encoding="utf-8"?>
<ds:datastoreItem xmlns:ds="http://schemas.openxmlformats.org/officeDocument/2006/customXml" ds:itemID="{F7C819FC-1942-43A9-8E7D-5B2B74C34F2A}">
  <ds:schemaRefs/>
</ds:datastoreItem>
</file>

<file path=customXml/itemProps6.xml><?xml version="1.0" encoding="utf-8"?>
<ds:datastoreItem xmlns:ds="http://schemas.openxmlformats.org/officeDocument/2006/customXml" ds:itemID="{990915FB-5FE6-4AFF-85D9-DFB47EDA2872}">
  <ds:schemaRefs/>
</ds:datastoreItem>
</file>

<file path=customXml/itemProps7.xml><?xml version="1.0" encoding="utf-8"?>
<ds:datastoreItem xmlns:ds="http://schemas.openxmlformats.org/officeDocument/2006/customXml" ds:itemID="{650CA4E2-D3F6-40EE-A2DC-D5C7D3F1B97E}">
  <ds:schemaRefs/>
</ds:datastoreItem>
</file>

<file path=customXml/itemProps8.xml><?xml version="1.0" encoding="utf-8"?>
<ds:datastoreItem xmlns:ds="http://schemas.openxmlformats.org/officeDocument/2006/customXml" ds:itemID="{ED71D599-DFCF-432D-B5E3-1F763DAC5EDE}">
  <ds:schemaRefs/>
</ds:datastoreItem>
</file>

<file path=customXml/itemProps9.xml><?xml version="1.0" encoding="utf-8"?>
<ds:datastoreItem xmlns:ds="http://schemas.openxmlformats.org/officeDocument/2006/customXml" ds:itemID="{6589C9DD-BEF9-4D1E-9210-171AFFFA2426}">
  <ds:schemaRefs/>
</ds:datastoreItem>
</file>

<file path=docProps/app.xml><?xml version="1.0" encoding="utf-8"?>
<Properties xmlns="http://schemas.openxmlformats.org/officeDocument/2006/extended-properties" xmlns:vt="http://schemas.openxmlformats.org/officeDocument/2006/docPropsVTypes">
  <Template>Deloitte_16_9_Onscreen</Template>
  <TotalTime>5185</TotalTime>
  <Words>719</Words>
  <Application>Microsoft Office PowerPoint</Application>
  <PresentationFormat>Widescreen</PresentationFormat>
  <Paragraphs>92</Paragraphs>
  <Slides>6</Slides>
  <Notes>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6" baseType="lpstr">
      <vt:lpstr>Arial</vt:lpstr>
      <vt:lpstr>Calibri</vt:lpstr>
      <vt:lpstr>Calibri Light</vt:lpstr>
      <vt:lpstr>Open Sans Light</vt:lpstr>
      <vt:lpstr>Verdana</vt:lpstr>
      <vt:lpstr>Wingdings 2</vt:lpstr>
      <vt:lpstr>Deloitte Brand Theme</vt:lpstr>
      <vt:lpstr>1_Deloitte Brand Theme</vt:lpstr>
      <vt:lpstr>Office Theme</vt:lpstr>
      <vt:lpstr>think-cell Slide</vt:lpstr>
      <vt:lpstr>How financial services organisations are addressing increasing cyber threats An overview of building Cyber Resilience in the emerging threat landscape</vt:lpstr>
      <vt:lpstr>Introduction &amp; Agenda</vt:lpstr>
      <vt:lpstr>Emerging cyber threat landscape &amp; key drivers for cyber resilience in FS organisations</vt:lpstr>
      <vt:lpstr>Emerging strategies used by leading FS organisations to strengthen their cyber risk maturity</vt:lpstr>
      <vt:lpstr>PowerPoint Presentation</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cument heading in Calibri  Light Green that can be up to  three lines of text</dc:title>
  <dc:creator>Schulfer, Gretchen</dc:creator>
  <cp:lastModifiedBy>Brian Groves</cp:lastModifiedBy>
  <cp:revision>78</cp:revision>
  <dcterms:created xsi:type="dcterms:W3CDTF">2024-03-08T11:14:20Z</dcterms:created>
  <dcterms:modified xsi:type="dcterms:W3CDTF">2024-05-15T17:4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98C2301746F8498110C13ABFD18040</vt:lpwstr>
  </property>
  <property fmtid="{D5CDD505-2E9C-101B-9397-08002B2CF9AE}" pid="3" name="MSIP_Label_ea60d57e-af5b-4752-ac57-3e4f28ca11dc_Enabled">
    <vt:lpwstr>true</vt:lpwstr>
  </property>
  <property fmtid="{D5CDD505-2E9C-101B-9397-08002B2CF9AE}" pid="4" name="MSIP_Label_ea60d57e-af5b-4752-ac57-3e4f28ca11dc_SetDate">
    <vt:lpwstr>2021-12-08T12:51:31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08b49fdc-5dcd-42d7-8b38-82d4d6753c4a</vt:lpwstr>
  </property>
  <property fmtid="{D5CDD505-2E9C-101B-9397-08002B2CF9AE}" pid="9" name="MSIP_Label_ea60d57e-af5b-4752-ac57-3e4f28ca11dc_ContentBits">
    <vt:lpwstr>0</vt:lpwstr>
  </property>
  <property fmtid="{D5CDD505-2E9C-101B-9397-08002B2CF9AE}" pid="10" name="MediaServiceImageTags">
    <vt:lpwstr/>
  </property>
  <property fmtid="{D5CDD505-2E9C-101B-9397-08002B2CF9AE}" pid="11" name="MSIP_Label_459ef8e5-3aaa-41a0-b30c-a77b6f506147_Enabled">
    <vt:lpwstr>true</vt:lpwstr>
  </property>
  <property fmtid="{D5CDD505-2E9C-101B-9397-08002B2CF9AE}" pid="12" name="MSIP_Label_459ef8e5-3aaa-41a0-b30c-a77b6f506147_SetDate">
    <vt:lpwstr>2024-02-21T17:56:18Z</vt:lpwstr>
  </property>
  <property fmtid="{D5CDD505-2E9C-101B-9397-08002B2CF9AE}" pid="13" name="MSIP_Label_459ef8e5-3aaa-41a0-b30c-a77b6f506147_Method">
    <vt:lpwstr>Standard</vt:lpwstr>
  </property>
  <property fmtid="{D5CDD505-2E9C-101B-9397-08002B2CF9AE}" pid="14" name="MSIP_Label_459ef8e5-3aaa-41a0-b30c-a77b6f506147_Name">
    <vt:lpwstr>Internal</vt:lpwstr>
  </property>
  <property fmtid="{D5CDD505-2E9C-101B-9397-08002B2CF9AE}" pid="15" name="MSIP_Label_459ef8e5-3aaa-41a0-b30c-a77b6f506147_SiteId">
    <vt:lpwstr>9343c96b-27bb-4092-add6-977870612481</vt:lpwstr>
  </property>
  <property fmtid="{D5CDD505-2E9C-101B-9397-08002B2CF9AE}" pid="16" name="MSIP_Label_459ef8e5-3aaa-41a0-b30c-a77b6f506147_ActionId">
    <vt:lpwstr>d1816292-411d-4b89-84af-54cbe331b931</vt:lpwstr>
  </property>
  <property fmtid="{D5CDD505-2E9C-101B-9397-08002B2CF9AE}" pid="17" name="MSIP_Label_459ef8e5-3aaa-41a0-b30c-a77b6f506147_ContentBits">
    <vt:lpwstr>0</vt:lpwstr>
  </property>
  <property fmtid="{D5CDD505-2E9C-101B-9397-08002B2CF9AE}" pid="18" name="TemplafyTimeStamp">
    <vt:lpwstr>2024-02-21T17:57:29</vt:lpwstr>
  </property>
  <property fmtid="{D5CDD505-2E9C-101B-9397-08002B2CF9AE}" pid="19" name="TemplafyTenantId">
    <vt:lpwstr>deloittense</vt:lpwstr>
  </property>
  <property fmtid="{D5CDD505-2E9C-101B-9397-08002B2CF9AE}" pid="20" name="TemplafyTemplateId">
    <vt:lpwstr>638053993688265257</vt:lpwstr>
  </property>
  <property fmtid="{D5CDD505-2E9C-101B-9397-08002B2CF9AE}" pid="21" name="TemplafyUserProfileId">
    <vt:lpwstr>638239708625473062</vt:lpwstr>
  </property>
  <property fmtid="{D5CDD505-2E9C-101B-9397-08002B2CF9AE}" pid="22" name="TemplafyLanguageCode">
    <vt:lpwstr>en-GB</vt:lpwstr>
  </property>
  <property fmtid="{D5CDD505-2E9C-101B-9397-08002B2CF9AE}" pid="23" name="TemplafyFromBlank">
    <vt:bool>false</vt:bool>
  </property>
</Properties>
</file>